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5"/>
    <p:sldMasterId id="2147483802" r:id="rId6"/>
  </p:sldMasterIdLst>
  <p:notesMasterIdLst>
    <p:notesMasterId r:id="rId26"/>
  </p:notesMasterIdLst>
  <p:sldIdLst>
    <p:sldId id="257" r:id="rId7"/>
    <p:sldId id="2134804680" r:id="rId8"/>
    <p:sldId id="264" r:id="rId9"/>
    <p:sldId id="2147472625" r:id="rId10"/>
    <p:sldId id="295" r:id="rId11"/>
    <p:sldId id="286" r:id="rId12"/>
    <p:sldId id="368" r:id="rId13"/>
    <p:sldId id="2147472643" r:id="rId14"/>
    <p:sldId id="2147472818" r:id="rId15"/>
    <p:sldId id="2147472821" r:id="rId16"/>
    <p:sldId id="2147472822" r:id="rId17"/>
    <p:sldId id="2147472807" r:id="rId18"/>
    <p:sldId id="2147472820" r:id="rId19"/>
    <p:sldId id="2147472811" r:id="rId20"/>
    <p:sldId id="2147472803" r:id="rId21"/>
    <p:sldId id="2147472808" r:id="rId22"/>
    <p:sldId id="2147472809" r:id="rId23"/>
    <p:sldId id="2147472810" r:id="rId24"/>
    <p:sldId id="2147472813"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DFD2955-1EF4-B407-F604-EFFD62438B3B}" name="Sarna Dr. Neeraj - Munich-MR" initials="SDNMM" userId="S::NSarna@munichre.com::2a57c6f3-cef0-4903-8d1e-909c4f25275d" providerId="AD"/>
  <p188:author id="{4194E879-560C-DB48-B013-02BD858799AA}" name="Marchesan Jacopo - Munich-MR" initials="JM" userId="S::JMarchesan@munichre.com::ac0d6936-6f8f-4bfb-8ecd-36384be7832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F1F7"/>
    <a:srgbClr val="FFFFFF"/>
    <a:srgbClr val="6161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BC6FB6-A55F-4555-A214-ED038B4D5B6A}" v="5548" dt="2024-09-11T11:56:23.720"/>
    <p1510:client id="{5D9C05C7-504B-A0E2-116A-0838CC410495}" v="35" vWet="37" dt="2024-09-10T13:13:28.304"/>
    <p1510:client id="{BC3DF94B-49FE-4914-A6B3-C163268D4493}" v="2969" dt="2024-09-11T12:00:59.220"/>
    <p1510:client id="{D56972F6-942F-A8A2-B040-33F16E039A95}" v="51" dt="2024-09-10T14:10:57.4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72" autoAdjust="0"/>
  </p:normalViewPr>
  <p:slideViewPr>
    <p:cSldViewPr snapToGrid="0">
      <p:cViewPr>
        <p:scale>
          <a:sx n="58" d="100"/>
          <a:sy n="58" d="100"/>
        </p:scale>
        <p:origin x="896" y="-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out</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c:v>
                </c:pt>
              </c:strCache>
            </c:strRef>
          </c:tx>
          <c:spPr>
            <a:solidFill>
              <a:schemeClr val="accent1"/>
            </a:solidFill>
            <a:ln>
              <a:noFill/>
            </a:ln>
            <a:effectLst/>
          </c:spPr>
          <c:invertIfNegative val="0"/>
          <c:cat>
            <c:strRef>
              <c:f>Sheet1!$A$2</c:f>
              <c:strCache>
                <c:ptCount val="1"/>
                <c:pt idx="0">
                  <c:v>Naval Propulsion</c:v>
                </c:pt>
              </c:strCache>
            </c:strRef>
          </c:cat>
          <c:val>
            <c:numRef>
              <c:f>Sheet1!$B$2</c:f>
              <c:numCache>
                <c:formatCode>General</c:formatCode>
                <c:ptCount val="1"/>
                <c:pt idx="0">
                  <c:v>0.11</c:v>
                </c:pt>
              </c:numCache>
            </c:numRef>
          </c:val>
          <c:extLst>
            <c:ext xmlns:c16="http://schemas.microsoft.com/office/drawing/2014/chart" uri="{C3380CC4-5D6E-409C-BE32-E72D297353CC}">
              <c16:uniqueId val="{00000000-C39E-4DA8-8FEF-EC6934A8E25A}"/>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Naval Propulsion</c:v>
                </c:pt>
              </c:strCache>
            </c:strRef>
          </c:cat>
          <c:val>
            <c:numRef>
              <c:f>Sheet1!$C$2</c:f>
              <c:numCache>
                <c:formatCode>General</c:formatCode>
                <c:ptCount val="1"/>
                <c:pt idx="0">
                  <c:v>0.09</c:v>
                </c:pt>
              </c:numCache>
            </c:numRef>
          </c:val>
          <c:extLst>
            <c:ext xmlns:c16="http://schemas.microsoft.com/office/drawing/2014/chart" uri="{C3380CC4-5D6E-409C-BE32-E72D297353CC}">
              <c16:uniqueId val="{00000001-C39E-4DA8-8FEF-EC6934A8E25A}"/>
            </c:ext>
          </c:extLst>
        </c:ser>
        <c:ser>
          <c:idx val="2"/>
          <c:order val="2"/>
          <c:tx>
            <c:strRef>
              <c:f>Sheet1!$D$1</c:f>
              <c:strCache>
                <c:ptCount val="1"/>
                <c:pt idx="0">
                  <c:v>MVE</c:v>
                </c:pt>
              </c:strCache>
            </c:strRef>
          </c:tx>
          <c:spPr>
            <a:solidFill>
              <a:schemeClr val="accent3"/>
            </a:solidFill>
            <a:ln>
              <a:noFill/>
            </a:ln>
            <a:effectLst/>
          </c:spPr>
          <c:invertIfNegative val="0"/>
          <c:cat>
            <c:strRef>
              <c:f>Sheet1!$A$2</c:f>
              <c:strCache>
                <c:ptCount val="1"/>
                <c:pt idx="0">
                  <c:v>Naval Propulsion</c:v>
                </c:pt>
              </c:strCache>
            </c:strRef>
          </c:cat>
          <c:val>
            <c:numRef>
              <c:f>Sheet1!$D$2</c:f>
              <c:numCache>
                <c:formatCode>General</c:formatCode>
                <c:ptCount val="1"/>
                <c:pt idx="0">
                  <c:v>0.26</c:v>
                </c:pt>
              </c:numCache>
            </c:numRef>
          </c:val>
          <c:extLst>
            <c:ext xmlns:c16="http://schemas.microsoft.com/office/drawing/2014/chart" uri="{C3380CC4-5D6E-409C-BE32-E72D297353CC}">
              <c16:uniqueId val="{00000002-C39E-4DA8-8FEF-EC6934A8E25A}"/>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W</c:v>
                </c:pt>
              </c:strCache>
            </c:strRef>
          </c:tx>
          <c:spPr>
            <a:solidFill>
              <a:schemeClr val="accent1"/>
            </a:solidFill>
            <a:ln>
              <a:noFill/>
            </a:ln>
            <a:effectLst/>
          </c:spPr>
          <c:invertIfNegative val="0"/>
          <c:cat>
            <c:strRef>
              <c:f>Sheet1!$A$2</c:f>
              <c:strCache>
                <c:ptCount val="1"/>
                <c:pt idx="0">
                  <c:v>Naval Propulsion</c:v>
                </c:pt>
              </c:strCache>
            </c:strRef>
          </c:cat>
          <c:val>
            <c:numRef>
              <c:f>Sheet1!$B$2</c:f>
              <c:numCache>
                <c:formatCode>General</c:formatCode>
                <c:ptCount val="1"/>
                <c:pt idx="0">
                  <c:v>0.45</c:v>
                </c:pt>
              </c:numCache>
            </c:numRef>
          </c:val>
          <c:extLst>
            <c:ext xmlns:c16="http://schemas.microsoft.com/office/drawing/2014/chart" uri="{C3380CC4-5D6E-409C-BE32-E72D297353CC}">
              <c16:uniqueId val="{00000000-4411-4072-9988-01C549E2751F}"/>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Naval Propulsion</c:v>
                </c:pt>
              </c:strCache>
            </c:strRef>
          </c:cat>
          <c:val>
            <c:numRef>
              <c:f>Sheet1!$C$2</c:f>
              <c:numCache>
                <c:formatCode>General</c:formatCode>
                <c:ptCount val="1"/>
                <c:pt idx="0">
                  <c:v>0.41</c:v>
                </c:pt>
              </c:numCache>
            </c:numRef>
          </c:val>
          <c:extLst>
            <c:ext xmlns:c16="http://schemas.microsoft.com/office/drawing/2014/chart" uri="{C3380CC4-5D6E-409C-BE32-E72D297353CC}">
              <c16:uniqueId val="{00000001-4411-4072-9988-01C549E2751F}"/>
            </c:ext>
          </c:extLst>
        </c:ser>
        <c:ser>
          <c:idx val="2"/>
          <c:order val="2"/>
          <c:tx>
            <c:strRef>
              <c:f>Sheet1!$D$1</c:f>
              <c:strCache>
                <c:ptCount val="1"/>
                <c:pt idx="0">
                  <c:v>MVE</c:v>
                </c:pt>
              </c:strCache>
            </c:strRef>
          </c:tx>
          <c:spPr>
            <a:solidFill>
              <a:schemeClr val="accent3"/>
            </a:solidFill>
            <a:ln>
              <a:noFill/>
            </a:ln>
            <a:effectLst/>
          </c:spPr>
          <c:invertIfNegative val="0"/>
          <c:cat>
            <c:strRef>
              <c:f>Sheet1!$A$2</c:f>
              <c:strCache>
                <c:ptCount val="1"/>
                <c:pt idx="0">
                  <c:v>Naval Propulsion</c:v>
                </c:pt>
              </c:strCache>
            </c:strRef>
          </c:cat>
          <c:val>
            <c:numRef>
              <c:f>Sheet1!$D$2</c:f>
              <c:numCache>
                <c:formatCode>General</c:formatCode>
                <c:ptCount val="1"/>
                <c:pt idx="0">
                  <c:v>0.38</c:v>
                </c:pt>
              </c:numCache>
            </c:numRef>
          </c:val>
          <c:extLst>
            <c:ext xmlns:c16="http://schemas.microsoft.com/office/drawing/2014/chart" uri="{C3380CC4-5D6E-409C-BE32-E72D297353CC}">
              <c16:uniqueId val="{00000002-4411-4072-9988-01C549E2751F}"/>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out</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c:v>
                </c:pt>
              </c:strCache>
            </c:strRef>
          </c:tx>
          <c:spPr>
            <a:solidFill>
              <a:schemeClr val="accent1"/>
            </a:solidFill>
            <a:ln>
              <a:noFill/>
            </a:ln>
            <a:effectLst/>
          </c:spPr>
          <c:invertIfNegative val="0"/>
          <c:cat>
            <c:strRef>
              <c:f>Sheet1!$A$2</c:f>
              <c:strCache>
                <c:ptCount val="1"/>
                <c:pt idx="0">
                  <c:v>Naval Propulsion</c:v>
                </c:pt>
              </c:strCache>
            </c:strRef>
          </c:cat>
          <c:val>
            <c:numRef>
              <c:f>Sheet1!$B$2</c:f>
              <c:numCache>
                <c:formatCode>General</c:formatCode>
                <c:ptCount val="1"/>
                <c:pt idx="0">
                  <c:v>0.13</c:v>
                </c:pt>
              </c:numCache>
            </c:numRef>
          </c:val>
          <c:extLst>
            <c:ext xmlns:c16="http://schemas.microsoft.com/office/drawing/2014/chart" uri="{C3380CC4-5D6E-409C-BE32-E72D297353CC}">
              <c16:uniqueId val="{00000000-C39E-4DA8-8FEF-EC6934A8E25A}"/>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Naval Propulsion</c:v>
                </c:pt>
              </c:strCache>
            </c:strRef>
          </c:cat>
          <c:val>
            <c:numRef>
              <c:f>Sheet1!$C$2</c:f>
              <c:numCache>
                <c:formatCode>General</c:formatCode>
                <c:ptCount val="1"/>
                <c:pt idx="0">
                  <c:v>0.11</c:v>
                </c:pt>
              </c:numCache>
            </c:numRef>
          </c:val>
          <c:extLst>
            <c:ext xmlns:c16="http://schemas.microsoft.com/office/drawing/2014/chart" uri="{C3380CC4-5D6E-409C-BE32-E72D297353CC}">
              <c16:uniqueId val="{00000001-C39E-4DA8-8FEF-EC6934A8E25A}"/>
            </c:ext>
          </c:extLst>
        </c:ser>
        <c:ser>
          <c:idx val="2"/>
          <c:order val="2"/>
          <c:tx>
            <c:strRef>
              <c:f>Sheet1!$D$1</c:f>
              <c:strCache>
                <c:ptCount val="1"/>
                <c:pt idx="0">
                  <c:v>Res Gauss</c:v>
                </c:pt>
              </c:strCache>
            </c:strRef>
          </c:tx>
          <c:spPr>
            <a:solidFill>
              <a:schemeClr val="accent3"/>
            </a:solidFill>
            <a:ln>
              <a:noFill/>
            </a:ln>
            <a:effectLst/>
          </c:spPr>
          <c:invertIfNegative val="0"/>
          <c:cat>
            <c:strRef>
              <c:f>Sheet1!$A$2</c:f>
              <c:strCache>
                <c:ptCount val="1"/>
                <c:pt idx="0">
                  <c:v>Naval Propulsion</c:v>
                </c:pt>
              </c:strCache>
            </c:strRef>
          </c:cat>
          <c:val>
            <c:numRef>
              <c:f>Sheet1!$D$2</c:f>
              <c:numCache>
                <c:formatCode>General</c:formatCode>
                <c:ptCount val="1"/>
                <c:pt idx="0">
                  <c:v>0.21</c:v>
                </c:pt>
              </c:numCache>
            </c:numRef>
          </c:val>
          <c:extLst>
            <c:ext xmlns:c16="http://schemas.microsoft.com/office/drawing/2014/chart" uri="{C3380CC4-5D6E-409C-BE32-E72D297353CC}">
              <c16:uniqueId val="{00000002-C39E-4DA8-8FEF-EC6934A8E25A}"/>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W</c:v>
                </c:pt>
              </c:strCache>
            </c:strRef>
          </c:tx>
          <c:spPr>
            <a:solidFill>
              <a:schemeClr val="accent1"/>
            </a:solidFill>
            <a:ln>
              <a:noFill/>
            </a:ln>
            <a:effectLst/>
          </c:spPr>
          <c:invertIfNegative val="0"/>
          <c:cat>
            <c:strRef>
              <c:f>Sheet1!$A$2</c:f>
              <c:strCache>
                <c:ptCount val="1"/>
                <c:pt idx="0">
                  <c:v>Naval Propulsion</c:v>
                </c:pt>
              </c:strCache>
            </c:strRef>
          </c:cat>
          <c:val>
            <c:numRef>
              <c:f>Sheet1!$B$2</c:f>
              <c:numCache>
                <c:formatCode>General</c:formatCode>
                <c:ptCount val="1"/>
                <c:pt idx="0">
                  <c:v>0.19</c:v>
                </c:pt>
              </c:numCache>
            </c:numRef>
          </c:val>
          <c:extLst>
            <c:ext xmlns:c16="http://schemas.microsoft.com/office/drawing/2014/chart" uri="{C3380CC4-5D6E-409C-BE32-E72D297353CC}">
              <c16:uniqueId val="{00000000-4411-4072-9988-01C549E2751F}"/>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Naval Propulsion</c:v>
                </c:pt>
              </c:strCache>
            </c:strRef>
          </c:cat>
          <c:val>
            <c:numRef>
              <c:f>Sheet1!$C$2</c:f>
              <c:numCache>
                <c:formatCode>General</c:formatCode>
                <c:ptCount val="1"/>
                <c:pt idx="0">
                  <c:v>0.18</c:v>
                </c:pt>
              </c:numCache>
            </c:numRef>
          </c:val>
          <c:extLst>
            <c:ext xmlns:c16="http://schemas.microsoft.com/office/drawing/2014/chart" uri="{C3380CC4-5D6E-409C-BE32-E72D297353CC}">
              <c16:uniqueId val="{00000001-4411-4072-9988-01C549E2751F}"/>
            </c:ext>
          </c:extLst>
        </c:ser>
        <c:ser>
          <c:idx val="2"/>
          <c:order val="2"/>
          <c:tx>
            <c:strRef>
              <c:f>Sheet1!$D$1</c:f>
              <c:strCache>
                <c:ptCount val="1"/>
                <c:pt idx="0">
                  <c:v>Res Gauss</c:v>
                </c:pt>
              </c:strCache>
            </c:strRef>
          </c:tx>
          <c:spPr>
            <a:solidFill>
              <a:schemeClr val="accent3"/>
            </a:solidFill>
            <a:ln>
              <a:noFill/>
            </a:ln>
            <a:effectLst/>
          </c:spPr>
          <c:invertIfNegative val="0"/>
          <c:cat>
            <c:strRef>
              <c:f>Sheet1!$A$2</c:f>
              <c:strCache>
                <c:ptCount val="1"/>
                <c:pt idx="0">
                  <c:v>Naval Propulsion</c:v>
                </c:pt>
              </c:strCache>
            </c:strRef>
          </c:cat>
          <c:val>
            <c:numRef>
              <c:f>Sheet1!$D$2</c:f>
              <c:numCache>
                <c:formatCode>General</c:formatCode>
                <c:ptCount val="1"/>
                <c:pt idx="0">
                  <c:v>0.23</c:v>
                </c:pt>
              </c:numCache>
            </c:numRef>
          </c:val>
          <c:extLst>
            <c:ext xmlns:c16="http://schemas.microsoft.com/office/drawing/2014/chart" uri="{C3380CC4-5D6E-409C-BE32-E72D297353CC}">
              <c16:uniqueId val="{00000002-4411-4072-9988-01C549E2751F}"/>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out</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c:v>
                </c:pt>
              </c:strCache>
            </c:strRef>
          </c:tx>
          <c:spPr>
            <a:solidFill>
              <a:schemeClr val="accent1"/>
            </a:solidFill>
            <a:ln>
              <a:noFill/>
            </a:ln>
            <a:effectLst/>
          </c:spPr>
          <c:invertIfNegative val="0"/>
          <c:cat>
            <c:strRef>
              <c:f>Sheet1!$A$2</c:f>
              <c:strCache>
                <c:ptCount val="1"/>
                <c:pt idx="0">
                  <c:v>Power Plant</c:v>
                </c:pt>
              </c:strCache>
            </c:strRef>
          </c:cat>
          <c:val>
            <c:numRef>
              <c:f>Sheet1!$B$2</c:f>
              <c:numCache>
                <c:formatCode>General</c:formatCode>
                <c:ptCount val="1"/>
                <c:pt idx="0">
                  <c:v>0.26</c:v>
                </c:pt>
              </c:numCache>
            </c:numRef>
          </c:val>
          <c:extLst>
            <c:ext xmlns:c16="http://schemas.microsoft.com/office/drawing/2014/chart" uri="{C3380CC4-5D6E-409C-BE32-E72D297353CC}">
              <c16:uniqueId val="{00000000-C39E-4DA8-8FEF-EC6934A8E25A}"/>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Power Plant</c:v>
                </c:pt>
              </c:strCache>
            </c:strRef>
          </c:cat>
          <c:val>
            <c:numRef>
              <c:f>Sheet1!$C$2</c:f>
              <c:numCache>
                <c:formatCode>General</c:formatCode>
                <c:ptCount val="1"/>
                <c:pt idx="0">
                  <c:v>0.25</c:v>
                </c:pt>
              </c:numCache>
            </c:numRef>
          </c:val>
          <c:extLst>
            <c:ext xmlns:c16="http://schemas.microsoft.com/office/drawing/2014/chart" uri="{C3380CC4-5D6E-409C-BE32-E72D297353CC}">
              <c16:uniqueId val="{00000001-C39E-4DA8-8FEF-EC6934A8E25A}"/>
            </c:ext>
          </c:extLst>
        </c:ser>
        <c:ser>
          <c:idx val="2"/>
          <c:order val="2"/>
          <c:tx>
            <c:strRef>
              <c:f>Sheet1!$D$1</c:f>
              <c:strCache>
                <c:ptCount val="1"/>
                <c:pt idx="0">
                  <c:v>MVE</c:v>
                </c:pt>
              </c:strCache>
            </c:strRef>
          </c:tx>
          <c:spPr>
            <a:solidFill>
              <a:schemeClr val="accent3"/>
            </a:solidFill>
            <a:ln>
              <a:noFill/>
            </a:ln>
            <a:effectLst/>
          </c:spPr>
          <c:invertIfNegative val="0"/>
          <c:cat>
            <c:strRef>
              <c:f>Sheet1!$A$2</c:f>
              <c:strCache>
                <c:ptCount val="1"/>
                <c:pt idx="0">
                  <c:v>Power Plant</c:v>
                </c:pt>
              </c:strCache>
            </c:strRef>
          </c:cat>
          <c:val>
            <c:numRef>
              <c:f>Sheet1!$D$2</c:f>
              <c:numCache>
                <c:formatCode>General</c:formatCode>
                <c:ptCount val="1"/>
                <c:pt idx="0">
                  <c:v>0.31</c:v>
                </c:pt>
              </c:numCache>
            </c:numRef>
          </c:val>
          <c:extLst>
            <c:ext xmlns:c16="http://schemas.microsoft.com/office/drawing/2014/chart" uri="{C3380CC4-5D6E-409C-BE32-E72D297353CC}">
              <c16:uniqueId val="{00000002-C39E-4DA8-8FEF-EC6934A8E25A}"/>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ith</a:t>
            </a:r>
            <a:r>
              <a:rPr lang="en-US" baseline="0"/>
              <a:t> distribution shift</a:t>
            </a:r>
            <a:endParaRPr lang="de-DE"/>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4823203740157478E-2"/>
          <c:y val="9.8660242454463407E-2"/>
          <c:w val="0.9201767962598425"/>
          <c:h val="0.77869188123204469"/>
        </c:manualLayout>
      </c:layout>
      <c:barChart>
        <c:barDir val="col"/>
        <c:grouping val="clustered"/>
        <c:varyColors val="0"/>
        <c:ser>
          <c:idx val="0"/>
          <c:order val="0"/>
          <c:tx>
            <c:strRef>
              <c:f>Sheet1!$B$1</c:f>
              <c:strCache>
                <c:ptCount val="1"/>
                <c:pt idx="0">
                  <c:v>Split CP-W</c:v>
                </c:pt>
              </c:strCache>
            </c:strRef>
          </c:tx>
          <c:spPr>
            <a:solidFill>
              <a:schemeClr val="accent1"/>
            </a:solidFill>
            <a:ln>
              <a:noFill/>
            </a:ln>
            <a:effectLst/>
          </c:spPr>
          <c:invertIfNegative val="0"/>
          <c:cat>
            <c:strRef>
              <c:f>Sheet1!$A$2</c:f>
              <c:strCache>
                <c:ptCount val="1"/>
                <c:pt idx="0">
                  <c:v>Power Plant</c:v>
                </c:pt>
              </c:strCache>
            </c:strRef>
          </c:cat>
          <c:val>
            <c:numRef>
              <c:f>Sheet1!$B$2</c:f>
              <c:numCache>
                <c:formatCode>General</c:formatCode>
                <c:ptCount val="1"/>
                <c:pt idx="0">
                  <c:v>0.2</c:v>
                </c:pt>
              </c:numCache>
            </c:numRef>
          </c:val>
          <c:extLst>
            <c:ext xmlns:c16="http://schemas.microsoft.com/office/drawing/2014/chart" uri="{C3380CC4-5D6E-409C-BE32-E72D297353CC}">
              <c16:uniqueId val="{00000000-4411-4072-9988-01C549E2751F}"/>
            </c:ext>
          </c:extLst>
        </c:ser>
        <c:ser>
          <c:idx val="1"/>
          <c:order val="1"/>
          <c:tx>
            <c:strRef>
              <c:f>Sheet1!$C$1</c:f>
              <c:strCache>
                <c:ptCount val="1"/>
                <c:pt idx="0">
                  <c:v>Empirical</c:v>
                </c:pt>
              </c:strCache>
            </c:strRef>
          </c:tx>
          <c:spPr>
            <a:solidFill>
              <a:schemeClr val="accent2"/>
            </a:solidFill>
            <a:ln>
              <a:noFill/>
            </a:ln>
            <a:effectLst/>
          </c:spPr>
          <c:invertIfNegative val="0"/>
          <c:cat>
            <c:strRef>
              <c:f>Sheet1!$A$2</c:f>
              <c:strCache>
                <c:ptCount val="1"/>
                <c:pt idx="0">
                  <c:v>Power Plant</c:v>
                </c:pt>
              </c:strCache>
            </c:strRef>
          </c:cat>
          <c:val>
            <c:numRef>
              <c:f>Sheet1!$C$2</c:f>
              <c:numCache>
                <c:formatCode>General</c:formatCode>
                <c:ptCount val="1"/>
                <c:pt idx="0">
                  <c:v>0.17</c:v>
                </c:pt>
              </c:numCache>
            </c:numRef>
          </c:val>
          <c:extLst>
            <c:ext xmlns:c16="http://schemas.microsoft.com/office/drawing/2014/chart" uri="{C3380CC4-5D6E-409C-BE32-E72D297353CC}">
              <c16:uniqueId val="{00000001-4411-4072-9988-01C549E2751F}"/>
            </c:ext>
          </c:extLst>
        </c:ser>
        <c:ser>
          <c:idx val="2"/>
          <c:order val="2"/>
          <c:tx>
            <c:strRef>
              <c:f>Sheet1!$D$1</c:f>
              <c:strCache>
                <c:ptCount val="1"/>
                <c:pt idx="0">
                  <c:v>MVE</c:v>
                </c:pt>
              </c:strCache>
            </c:strRef>
          </c:tx>
          <c:spPr>
            <a:solidFill>
              <a:schemeClr val="accent3"/>
            </a:solidFill>
            <a:ln>
              <a:noFill/>
            </a:ln>
            <a:effectLst/>
          </c:spPr>
          <c:invertIfNegative val="0"/>
          <c:cat>
            <c:strRef>
              <c:f>Sheet1!$A$2</c:f>
              <c:strCache>
                <c:ptCount val="1"/>
                <c:pt idx="0">
                  <c:v>Power Plant</c:v>
                </c:pt>
              </c:strCache>
            </c:strRef>
          </c:cat>
          <c:val>
            <c:numRef>
              <c:f>Sheet1!$D$2</c:f>
              <c:numCache>
                <c:formatCode>General</c:formatCode>
                <c:ptCount val="1"/>
                <c:pt idx="0">
                  <c:v>0.36</c:v>
                </c:pt>
              </c:numCache>
            </c:numRef>
          </c:val>
          <c:extLst>
            <c:ext xmlns:c16="http://schemas.microsoft.com/office/drawing/2014/chart" uri="{C3380CC4-5D6E-409C-BE32-E72D297353CC}">
              <c16:uniqueId val="{00000002-4411-4072-9988-01C549E2751F}"/>
            </c:ext>
          </c:extLst>
        </c:ser>
        <c:dLbls>
          <c:showLegendKey val="0"/>
          <c:showVal val="0"/>
          <c:showCatName val="0"/>
          <c:showSerName val="0"/>
          <c:showPercent val="0"/>
          <c:showBubbleSize val="0"/>
        </c:dLbls>
        <c:gapWidth val="219"/>
        <c:overlap val="-27"/>
        <c:axId val="1265775951"/>
        <c:axId val="1923928639"/>
      </c:barChart>
      <c:catAx>
        <c:axId val="1265775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23928639"/>
        <c:crosses val="autoZero"/>
        <c:auto val="1"/>
        <c:lblAlgn val="ctr"/>
        <c:lblOffset val="100"/>
        <c:noMultiLvlLbl val="0"/>
      </c:catAx>
      <c:valAx>
        <c:axId val="19239286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65775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F84026E-632F-4C3F-97FB-50148D8F1AC1}" type="datetimeFigureOut">
              <a:rPr lang="en-GB" smtClean="0"/>
              <a:t>11/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99367D-0FD4-4CDD-950E-B693BB77F99A}" type="slidenum">
              <a:rPr lang="en-GB" smtClean="0"/>
              <a:t>‹#›</a:t>
            </a:fld>
            <a:endParaRPr lang="en-GB"/>
          </a:p>
        </p:txBody>
      </p:sp>
    </p:spTree>
    <p:extLst>
      <p:ext uri="{BB962C8B-B14F-4D97-AF65-F5344CB8AC3E}">
        <p14:creationId xmlns:p14="http://schemas.microsoft.com/office/powerpoint/2010/main" val="21990361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ank you for a great conference – I have been learning a lot about new work in this space. Thank you for giving us the opportunity to share our work on risk assessment of regression based machine learning algorithms. I am Sukrita Singh and I am presenting together with Neeraj Sarna and one of our collaborators Michael Berger, is supporting us from the audience. This is joint work between University of Oxford and Munich Re, a reinsurance company.</a:t>
            </a:r>
            <a:endParaRPr lang="la-Latn" dirty="0"/>
          </a:p>
        </p:txBody>
      </p:sp>
      <p:sp>
        <p:nvSpPr>
          <p:cNvPr id="4" name="Foliennummernplatzhalter 3"/>
          <p:cNvSpPr>
            <a:spLocks noGrp="1"/>
          </p:cNvSpPr>
          <p:nvPr>
            <p:ph type="sldNum" sz="quarter" idx="5"/>
          </p:nvPr>
        </p:nvSpPr>
        <p:spPr/>
        <p:txBody>
          <a:bodyPr/>
          <a:lstStyle/>
          <a:p>
            <a:fld id="{71236F6F-EC19-4674-9DBA-1D112EC7E139}" type="slidenum">
              <a:rPr lang="la-Latn" smtClean="0"/>
              <a:t>1</a:t>
            </a:fld>
            <a:endParaRPr lang="la-Latn"/>
          </a:p>
        </p:txBody>
      </p:sp>
    </p:spTree>
    <p:extLst>
      <p:ext uri="{BB962C8B-B14F-4D97-AF65-F5344CB8AC3E}">
        <p14:creationId xmlns:p14="http://schemas.microsoft.com/office/powerpoint/2010/main" val="1449109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158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9995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1236F6F-EC19-4674-9DBA-1D112EC7E139}" type="slidenum">
              <a:rPr lang="la-Latn" smtClean="0"/>
              <a:t>12</a:t>
            </a:fld>
            <a:endParaRPr lang="la-Latn"/>
          </a:p>
        </p:txBody>
      </p:sp>
    </p:spTree>
    <p:extLst>
      <p:ext uri="{BB962C8B-B14F-4D97-AF65-F5344CB8AC3E}">
        <p14:creationId xmlns:p14="http://schemas.microsoft.com/office/powerpoint/2010/main" val="567176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5326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4</a:t>
            </a:fld>
            <a:endParaRPr lang="en-GB"/>
          </a:p>
        </p:txBody>
      </p:sp>
    </p:spTree>
    <p:extLst>
      <p:ext uri="{BB962C8B-B14F-4D97-AF65-F5344CB8AC3E}">
        <p14:creationId xmlns:p14="http://schemas.microsoft.com/office/powerpoint/2010/main" val="1258830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5</a:t>
            </a:fld>
            <a:endParaRPr lang="en-GB"/>
          </a:p>
        </p:txBody>
      </p:sp>
    </p:spTree>
    <p:extLst>
      <p:ext uri="{BB962C8B-B14F-4D97-AF65-F5344CB8AC3E}">
        <p14:creationId xmlns:p14="http://schemas.microsoft.com/office/powerpoint/2010/main" val="16256518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6</a:t>
            </a:fld>
            <a:endParaRPr lang="en-GB"/>
          </a:p>
        </p:txBody>
      </p:sp>
    </p:spTree>
    <p:extLst>
      <p:ext uri="{BB962C8B-B14F-4D97-AF65-F5344CB8AC3E}">
        <p14:creationId xmlns:p14="http://schemas.microsoft.com/office/powerpoint/2010/main" val="1386597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7</a:t>
            </a:fld>
            <a:endParaRPr lang="en-GB"/>
          </a:p>
        </p:txBody>
      </p:sp>
    </p:spTree>
    <p:extLst>
      <p:ext uri="{BB962C8B-B14F-4D97-AF65-F5344CB8AC3E}">
        <p14:creationId xmlns:p14="http://schemas.microsoft.com/office/powerpoint/2010/main" val="642974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8</a:t>
            </a:fld>
            <a:endParaRPr lang="en-GB"/>
          </a:p>
        </p:txBody>
      </p:sp>
    </p:spTree>
    <p:extLst>
      <p:ext uri="{BB962C8B-B14F-4D97-AF65-F5344CB8AC3E}">
        <p14:creationId xmlns:p14="http://schemas.microsoft.com/office/powerpoint/2010/main" val="2390852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36F6F-EC19-4674-9DBA-1D112EC7E139}" type="slidenum">
              <a:rPr lang="en-GB" smtClean="0"/>
              <a:t>19</a:t>
            </a:fld>
            <a:endParaRPr lang="en-GB"/>
          </a:p>
        </p:txBody>
      </p:sp>
    </p:spTree>
    <p:extLst>
      <p:ext uri="{BB962C8B-B14F-4D97-AF65-F5344CB8AC3E}">
        <p14:creationId xmlns:p14="http://schemas.microsoft.com/office/powerpoint/2010/main" val="3267365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1236F6F-EC19-4674-9DBA-1D112EC7E139}" type="slidenum">
              <a:rPr lang="en-GB" smtClean="0"/>
              <a:pPr/>
              <a:t>2</a:t>
            </a:fld>
            <a:endParaRPr lang="en-GB"/>
          </a:p>
        </p:txBody>
      </p:sp>
    </p:spTree>
    <p:extLst>
      <p:ext uri="{BB962C8B-B14F-4D97-AF65-F5344CB8AC3E}">
        <p14:creationId xmlns:p14="http://schemas.microsoft.com/office/powerpoint/2010/main" val="495662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la-Latn"/>
          </a:p>
        </p:txBody>
      </p:sp>
      <p:sp>
        <p:nvSpPr>
          <p:cNvPr id="4" name="Foliennummernplatzhalter 3"/>
          <p:cNvSpPr>
            <a:spLocks noGrp="1"/>
          </p:cNvSpPr>
          <p:nvPr>
            <p:ph type="sldNum" sz="quarter" idx="5"/>
          </p:nvPr>
        </p:nvSpPr>
        <p:spPr/>
        <p:txBody>
          <a:bodyPr/>
          <a:lstStyle/>
          <a:p>
            <a:fld id="{71236F6F-EC19-4674-9DBA-1D112EC7E139}" type="slidenum">
              <a:rPr lang="la-Latn" smtClean="0"/>
              <a:t>3</a:t>
            </a:fld>
            <a:endParaRPr lang="la-Latn"/>
          </a:p>
        </p:txBody>
      </p:sp>
    </p:spTree>
    <p:extLst>
      <p:ext uri="{BB962C8B-B14F-4D97-AF65-F5344CB8AC3E}">
        <p14:creationId xmlns:p14="http://schemas.microsoft.com/office/powerpoint/2010/main" val="106739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we look at the setting where AI models are used for practical applications, there are risks associated such as performance, IP infringement, fairness. All these risks can incur financial costs for the end user and depending upon the application area this can be severe. And as an insurer, what you would like to do is enable an AI vendor to extend a performance guarantee to the end user. Give example of drug dosage.</a:t>
            </a:r>
          </a:p>
        </p:txBody>
      </p:sp>
      <p:sp>
        <p:nvSpPr>
          <p:cNvPr id="4" name="Slide Number Placeholder 3"/>
          <p:cNvSpPr>
            <a:spLocks noGrp="1"/>
          </p:cNvSpPr>
          <p:nvPr>
            <p:ph type="sldNum" sz="quarter" idx="5"/>
          </p:nvPr>
        </p:nvSpPr>
        <p:spPr/>
        <p:txBody>
          <a:bodyPr/>
          <a:lstStyle/>
          <a:p>
            <a:fld id="{4B99367D-0FD4-4CDD-950E-B693BB77F99A}" type="slidenum">
              <a:rPr lang="en-GB" smtClean="0"/>
              <a:t>4</a:t>
            </a:fld>
            <a:endParaRPr lang="en-GB"/>
          </a:p>
        </p:txBody>
      </p:sp>
    </p:spTree>
    <p:extLst>
      <p:ext uri="{BB962C8B-B14F-4D97-AF65-F5344CB8AC3E}">
        <p14:creationId xmlns:p14="http://schemas.microsoft.com/office/powerpoint/2010/main" val="8067753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roblem is that under performance is defined on an error threshold which is fixed and maybe set by regulatory, government or legal standards. Something that may be outside the control of the AI vendor and the end user both so it is important to estimate coverage in respect of this defined interval instead of obtaining conformal prediction intervals for a predefined coverage level. So basically our problem is the inverse of standard conformal prediction.</a:t>
            </a:r>
          </a:p>
        </p:txBody>
      </p:sp>
      <p:sp>
        <p:nvSpPr>
          <p:cNvPr id="4" name="Slide Number Placeholder 3"/>
          <p:cNvSpPr>
            <a:spLocks noGrp="1"/>
          </p:cNvSpPr>
          <p:nvPr>
            <p:ph type="sldNum" sz="quarter" idx="5"/>
          </p:nvPr>
        </p:nvSpPr>
        <p:spPr/>
        <p:txBody>
          <a:bodyPr/>
          <a:lstStyle/>
          <a:p>
            <a:fld id="{4B99367D-0FD4-4CDD-950E-B693BB77F99A}" type="slidenum">
              <a:rPr lang="en-GB" smtClean="0"/>
              <a:t>5</a:t>
            </a:fld>
            <a:endParaRPr lang="en-GB"/>
          </a:p>
        </p:txBody>
      </p:sp>
    </p:spTree>
    <p:extLst>
      <p:ext uri="{BB962C8B-B14F-4D97-AF65-F5344CB8AC3E}">
        <p14:creationId xmlns:p14="http://schemas.microsoft.com/office/powerpoint/2010/main" val="3087543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99367D-0FD4-4CDD-950E-B693BB77F99A}" type="slidenum">
              <a:rPr lang="en-GB" smtClean="0"/>
              <a:t>6</a:t>
            </a:fld>
            <a:endParaRPr lang="en-GB"/>
          </a:p>
        </p:txBody>
      </p:sp>
    </p:spTree>
    <p:extLst>
      <p:ext uri="{BB962C8B-B14F-4D97-AF65-F5344CB8AC3E}">
        <p14:creationId xmlns:p14="http://schemas.microsoft.com/office/powerpoint/2010/main" val="3744624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71236F6F-EC19-4674-9DBA-1D112EC7E139}" type="slidenum">
              <a:rPr lang="la-Latn" smtClean="0"/>
              <a:t>7</a:t>
            </a:fld>
            <a:endParaRPr lang="la-Latn"/>
          </a:p>
        </p:txBody>
      </p:sp>
    </p:spTree>
    <p:extLst>
      <p:ext uri="{BB962C8B-B14F-4D97-AF65-F5344CB8AC3E}">
        <p14:creationId xmlns:p14="http://schemas.microsoft.com/office/powerpoint/2010/main" val="1711450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 of all, we translate the business scenario so far in terms of what it means for the theoretical constraints of the solution we wish to obtain. To summarize, the main constraints are epsilon is fixed so there is no control over error threshold. Next, the model comes from a third party – all you’re doing is evaluate it so there is no control over model architecture itself (and in some cases also limited access to it). We have to estimate the failure probability adhering to 2 principles; it should be conservative and it should be as accurate as possible.</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1604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71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6C70B09-29E9-4009-B23F-9F123D300F49}"/>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B6C70B09-29E9-4009-B23F-9F123D300F4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7" name="Date Placeholder 1"/>
          <p:cNvSpPr>
            <a:spLocks noGrp="1"/>
          </p:cNvSpPr>
          <p:nvPr>
            <p:ph type="dt" sz="half" idx="10"/>
          </p:nvPr>
        </p:nvSpPr>
        <p:spPr/>
        <p:txBody>
          <a:bodyPr/>
          <a:lstStyle>
            <a:lvl1pPr rtl="0">
              <a:defRPr/>
            </a:lvl1pPr>
          </a:lstStyle>
          <a:p>
            <a:endParaRPr lang="en-GB"/>
          </a:p>
        </p:txBody>
      </p:sp>
      <p:sp>
        <p:nvSpPr>
          <p:cNvPr id="8" name="Slide Number Placeholder 1"/>
          <p:cNvSpPr>
            <a:spLocks noGrp="1"/>
          </p:cNvSpPr>
          <p:nvPr>
            <p:ph type="sldNum" sz="quarter" idx="11"/>
          </p:nvPr>
        </p:nvSpPr>
        <p:spPr/>
        <p:txBody>
          <a:bodyPr/>
          <a:lstStyle>
            <a:lvl1pPr rtl="0">
              <a:defRPr/>
            </a:lvl1pPr>
          </a:lstStyle>
          <a:p>
            <a:fld id="{D94909C6-CC71-4962-A18E-AF0515723D95}" type="slidenum">
              <a:rPr lang="en-GB" smtClean="0"/>
              <a:pPr/>
              <a:t>‹#›</a:t>
            </a:fld>
            <a:endParaRPr lang="en-GB"/>
          </a:p>
        </p:txBody>
      </p:sp>
      <p:sp>
        <p:nvSpPr>
          <p:cNvPr id="9" name="Footer Placeholder 1"/>
          <p:cNvSpPr>
            <a:spLocks noGrp="1"/>
          </p:cNvSpPr>
          <p:nvPr>
            <p:ph type="ftr" sz="quarter" idx="12"/>
          </p:nvPr>
        </p:nvSpPr>
        <p:spPr/>
        <p:txBody>
          <a:bodyPr/>
          <a:lstStyle>
            <a:lvl1pPr rtl="0">
              <a:defRPr/>
            </a:lvl1pPr>
          </a:lstStyle>
          <a:p>
            <a:r>
              <a:rPr lang="en-US"/>
              <a:t>IIG - Insurance Backed Performance Guarantees</a:t>
            </a:r>
            <a:endParaRPr lang="en-GB"/>
          </a:p>
        </p:txBody>
      </p:sp>
      <p:sp>
        <p:nvSpPr>
          <p:cNvPr id="2" name="Title 1"/>
          <p:cNvSpPr>
            <a:spLocks noGrp="1"/>
          </p:cNvSpPr>
          <p:nvPr>
            <p:ph type="title" hasCustomPrompt="1"/>
          </p:nvPr>
        </p:nvSpPr>
        <p:spPr/>
        <p:txBody>
          <a:bodyPr vert="horz"/>
          <a:lstStyle>
            <a:lvl1pPr rtl="0">
              <a:defRPr/>
            </a:lvl1pPr>
          </a:lstStyle>
          <a:p>
            <a:r>
              <a:rPr lang="en-GB"/>
              <a:t>Title 20 pt, two lines max. and bulleted list</a:t>
            </a:r>
            <a:endParaRPr lang="en-GB" noProof="0"/>
          </a:p>
        </p:txBody>
      </p:sp>
      <p:sp>
        <p:nvSpPr>
          <p:cNvPr id="3" name="Content Placeholder 1"/>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en-GB"/>
              <a:t>To customise the points hierarchy, use Start &gt; Paragraph &gt; Decrease/Increase List Level. Alternatively, insert table, chart, SmartArt graphic, picture or online graphic.</a:t>
            </a:r>
            <a:br>
              <a:rPr lang="en-GB"/>
            </a:br>
            <a:r>
              <a:rPr lang="en-GB"/>
              <a:t>Formatting charts: You can use all Monochromatic colors and Colorful Palette 1.                                Please use only Style 1, 2, 6 or 1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5619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7" name="Date Placeholder 1"/>
          <p:cNvSpPr>
            <a:spLocks noGrp="1"/>
          </p:cNvSpPr>
          <p:nvPr>
            <p:ph type="dt" sz="half" idx="10"/>
          </p:nvPr>
        </p:nvSpPr>
        <p:spPr/>
        <p:txBody>
          <a:bodyPr/>
          <a:lstStyle/>
          <a:p>
            <a:r>
              <a:rPr lang="de-DE" noProof="0"/>
              <a:t>3rd-4th September 2024</a:t>
            </a:r>
            <a:endParaRPr lang="en-GB" noProof="0"/>
          </a:p>
        </p:txBody>
      </p:sp>
      <p:sp>
        <p:nvSpPr>
          <p:cNvPr id="9" name="Footer Placeholder 1"/>
          <p:cNvSpPr>
            <a:spLocks noGrp="1"/>
          </p:cNvSpPr>
          <p:nvPr>
            <p:ph type="ftr" sz="quarter" idx="12"/>
          </p:nvPr>
        </p:nvSpPr>
        <p:spPr/>
        <p:txBody>
          <a:bodyPr/>
          <a:lstStyle/>
          <a:p>
            <a:r>
              <a:rPr lang="fr-FR" noProof="0"/>
              <a:t>Digital Solution P&amp;C | Embrace Pet Portfolio </a:t>
            </a:r>
            <a:endParaRPr lang="en-GB" noProof="0"/>
          </a:p>
        </p:txBody>
      </p:sp>
      <p:sp>
        <p:nvSpPr>
          <p:cNvPr id="2" name="Title 1"/>
          <p:cNvSpPr>
            <a:spLocks noGrp="1"/>
          </p:cNvSpPr>
          <p:nvPr>
            <p:ph type="title" hasCustomPrompt="1"/>
          </p:nvPr>
        </p:nvSpPr>
        <p:spPr/>
        <p:txBody>
          <a:bodyPr/>
          <a:lstStyle>
            <a:lvl1pPr>
              <a:defRPr/>
            </a:lvl1pPr>
          </a:lstStyle>
          <a:p>
            <a:r>
              <a:rPr lang="en-GB"/>
              <a:t>Title 20 pt, two lines max. and numbering</a:t>
            </a:r>
            <a:endParaRPr lang="en-GB" noProof="0"/>
          </a:p>
        </p:txBody>
      </p:sp>
      <p:sp>
        <p:nvSpPr>
          <p:cNvPr id="3" name="Content Placeholder 1"/>
          <p:cNvSpPr>
            <a:spLocks noGrp="1"/>
          </p:cNvSpPr>
          <p:nvPr>
            <p:ph idx="1" hasCustomPrompt="1"/>
          </p:nvPr>
        </p:nvSpPr>
        <p:spPr/>
        <p:txBody>
          <a:bodyPr/>
          <a:lstStyle>
            <a:lvl1pPr>
              <a:buAutoNum type="arabicPeriod"/>
              <a:defRPr/>
            </a:lvl1p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62852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p:txBody>
          <a:bodyPr/>
          <a:lstStyle/>
          <a:p>
            <a:r>
              <a:rPr lang="en-GB"/>
              <a:t>Title 20 pt, two lines max. and text</a:t>
            </a:r>
            <a:endParaRPr lang="en-GB" noProof="0"/>
          </a:p>
        </p:txBody>
      </p:sp>
      <p:sp>
        <p:nvSpPr>
          <p:cNvPr id="7" name="Datumsplatzhalter 6"/>
          <p:cNvSpPr>
            <a:spLocks noGrp="1"/>
          </p:cNvSpPr>
          <p:nvPr>
            <p:ph type="dt" sz="half" idx="10"/>
          </p:nvPr>
        </p:nvSpPr>
        <p:spPr/>
        <p:txBody>
          <a:bodyPr/>
          <a:lstStyle/>
          <a:p>
            <a:r>
              <a:rPr lang="de-DE" noProof="0"/>
              <a:t>3rd-4th September 2024</a:t>
            </a:r>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p:txBody>
          <a:bodyPr/>
          <a:lstStyle/>
          <a:p>
            <a:r>
              <a:rPr lang="fr-FR" noProof="0"/>
              <a:t>Digital Solution P&amp;C | Embrace Pet Portfolio </a:t>
            </a:r>
            <a:endParaRPr lang="en-GB" noProof="0"/>
          </a:p>
        </p:txBody>
      </p:sp>
    </p:spTree>
    <p:extLst>
      <p:ext uri="{BB962C8B-B14F-4D97-AF65-F5344CB8AC3E}">
        <p14:creationId xmlns:p14="http://schemas.microsoft.com/office/powerpoint/2010/main" val="181219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1" name="Date Placeholder 1"/>
          <p:cNvSpPr>
            <a:spLocks noGrp="1"/>
          </p:cNvSpPr>
          <p:nvPr>
            <p:ph type="dt" sz="half" idx="10"/>
          </p:nvPr>
        </p:nvSpPr>
        <p:spPr/>
        <p:txBody>
          <a:bodyPr/>
          <a:lstStyle/>
          <a:p>
            <a:r>
              <a:rPr lang="de-DE"/>
              <a:t>3rd-4th September 2024</a:t>
            </a:r>
            <a:endParaRPr lang="en-GB"/>
          </a:p>
        </p:txBody>
      </p:sp>
      <p:sp>
        <p:nvSpPr>
          <p:cNvPr id="14" name="Footer Placeholder 1"/>
          <p:cNvSpPr>
            <a:spLocks noGrp="1"/>
          </p:cNvSpPr>
          <p:nvPr>
            <p:ph type="ftr" sz="quarter" idx="12"/>
          </p:nvPr>
        </p:nvSpPr>
        <p:spPr/>
        <p:txBody>
          <a:bodyPr/>
          <a:lstStyle/>
          <a:p>
            <a:r>
              <a:rPr lang="fr-FR"/>
              <a:t>Digital Solution P&amp;C | Embrace Pet Portfolio </a:t>
            </a:r>
            <a:endParaRPr lang="en-GB"/>
          </a:p>
        </p:txBody>
      </p:sp>
      <p:sp>
        <p:nvSpPr>
          <p:cNvPr id="16" name="Titel 1"/>
          <p:cNvSpPr>
            <a:spLocks noGrp="1"/>
          </p:cNvSpPr>
          <p:nvPr>
            <p:ph type="title" hasCustomPrompt="1"/>
          </p:nvPr>
        </p:nvSpPr>
        <p:spPr/>
        <p:txBody>
          <a:bodyPr/>
          <a:lstStyle/>
          <a:p>
            <a:r>
              <a:rPr lang="en-GB"/>
              <a:t>Title 20 pt, two lines max. and chart</a:t>
            </a:r>
          </a:p>
        </p:txBody>
      </p:sp>
      <p:sp>
        <p:nvSpPr>
          <p:cNvPr id="18" name="Content Placeholder 1"/>
          <p:cNvSpPr>
            <a:spLocks noGrp="1"/>
          </p:cNvSpPr>
          <p:nvPr>
            <p:ph sz="quarter" idx="13" hasCustomPrompt="1"/>
          </p:nvPr>
        </p:nvSpPr>
        <p:spPr>
          <a:xfrm>
            <a:off x="408000" y="2016000"/>
            <a:ext cx="11376000" cy="4320000"/>
          </a:xfrm>
          <a:noFill/>
        </p:spPr>
        <p:txBody>
          <a:bodyPr/>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a:lvl1pPr>
          </a:lstStyle>
          <a:p>
            <a:pPr marL="287993" marR="0" lvl="0" indent="-287993" algn="l" defTabSz="359991" rtl="0" eaLnBrk="1" fontAlgn="auto" latinLnBrk="0" hangingPunct="1">
              <a:lnSpc>
                <a:spcPct val="110000"/>
              </a:lnSpc>
              <a:spcBef>
                <a:spcPts val="0"/>
              </a:spcBef>
              <a:spcAft>
                <a:spcPts val="800"/>
              </a:spcAft>
              <a:buClrTx/>
              <a:buSzTx/>
              <a:buFont typeface="Wingdings" pitchFamily="2" charset="2"/>
              <a:buChar char="§"/>
              <a:tabLst/>
              <a:defRPr/>
            </a:pPr>
            <a:r>
              <a:rPr lang="en-GB"/>
              <a:t>To customise the points hierarchy, use Start &gt; Paragraph &gt; Decrease/Increase List Level. Alternatively, insert table, chart, SmartArt graphic, picture or online graphic. To insert a chart, click on the icon in the middle.</a:t>
            </a:r>
            <a:br>
              <a:rPr lang="en-GB"/>
            </a:br>
            <a:r>
              <a:rPr lang="en-GB"/>
              <a:t>Formatting charts: You can use all Monochromatic colors and Colorful Palette 1.                                      Please use only Style 1, 2, 6 or 11. </a:t>
            </a:r>
          </a:p>
        </p:txBody>
      </p:sp>
      <p:sp>
        <p:nvSpPr>
          <p:cNvPr id="8" name="Heading Placeholder 1"/>
          <p:cNvSpPr>
            <a:spLocks noGrp="1"/>
          </p:cNvSpPr>
          <p:nvPr>
            <p:ph type="body" idx="1" hasCustomPrompt="1"/>
          </p:nvPr>
        </p:nvSpPr>
        <p:spPr>
          <a:xfrm>
            <a:off x="408000" y="1440000"/>
            <a:ext cx="11376000" cy="336000"/>
          </a:xfrm>
          <a:noFill/>
        </p:spPr>
        <p:txBody>
          <a:bodyPr wrap="square" lIns="0" tIns="0" rIns="0" bIns="0" anchor="t"/>
          <a:lstStyle>
            <a:lvl1pPr marL="0" indent="0">
              <a:lnSpc>
                <a:spcPct val="100000"/>
              </a:lnSpc>
              <a:spcAft>
                <a:spcPts val="0"/>
              </a:spcAft>
              <a:buClr>
                <a:srgbClr val="0066FF"/>
              </a:buClr>
              <a:buFontTx/>
              <a:buNone/>
              <a:defRPr sz="2133">
                <a:solidFill>
                  <a:srgbClr val="0066FF"/>
                </a:solidFill>
              </a:defRPr>
            </a:lvl1pPr>
          </a:lstStyle>
          <a:p>
            <a:pPr lvl="0"/>
            <a:r>
              <a:rPr lang="en-GB"/>
              <a:t>Heading 16 pt, single line</a:t>
            </a:r>
          </a:p>
        </p:txBody>
      </p:sp>
    </p:spTree>
    <p:extLst>
      <p:ext uri="{BB962C8B-B14F-4D97-AF65-F5344CB8AC3E}">
        <p14:creationId xmlns:p14="http://schemas.microsoft.com/office/powerpoint/2010/main" val="74661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2">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3" name="Date Placeholder 1"/>
          <p:cNvSpPr>
            <a:spLocks noGrp="1"/>
          </p:cNvSpPr>
          <p:nvPr>
            <p:ph type="dt" sz="half" idx="10"/>
          </p:nvPr>
        </p:nvSpPr>
        <p:spPr/>
        <p:txBody>
          <a:bodyPr/>
          <a:lstStyle/>
          <a:p>
            <a:r>
              <a:rPr lang="de-DE"/>
              <a:t>3rd-4th September 2024</a:t>
            </a:r>
            <a:endParaRPr lang="en-GB"/>
          </a:p>
        </p:txBody>
      </p:sp>
      <p:sp>
        <p:nvSpPr>
          <p:cNvPr id="15" name="Footer Placeholder 1"/>
          <p:cNvSpPr>
            <a:spLocks noGrp="1"/>
          </p:cNvSpPr>
          <p:nvPr>
            <p:ph type="ftr" sz="quarter" idx="12"/>
          </p:nvPr>
        </p:nvSpPr>
        <p:spPr/>
        <p:txBody>
          <a:bodyPr/>
          <a:lstStyle/>
          <a:p>
            <a:r>
              <a:rPr lang="fr-FR"/>
              <a:t>Digital Solution P&amp;C | Embrace Pet Portfolio </a:t>
            </a:r>
            <a:endParaRPr lang="en-GB"/>
          </a:p>
        </p:txBody>
      </p:sp>
      <p:sp>
        <p:nvSpPr>
          <p:cNvPr id="2" name="Titel 1"/>
          <p:cNvSpPr>
            <a:spLocks noGrp="1"/>
          </p:cNvSpPr>
          <p:nvPr>
            <p:ph type="title" hasCustomPrompt="1"/>
          </p:nvPr>
        </p:nvSpPr>
        <p:spPr/>
        <p:txBody>
          <a:bodyPr/>
          <a:lstStyle>
            <a:lvl1pPr>
              <a:defRPr/>
            </a:lvl1pPr>
          </a:lstStyle>
          <a:p>
            <a:r>
              <a:rPr lang="en-GB"/>
              <a:t>Title 20 pt, two lines max. and two content blocks</a:t>
            </a:r>
          </a:p>
        </p:txBody>
      </p:sp>
      <p:sp>
        <p:nvSpPr>
          <p:cNvPr id="20" name="Content Placeholder 1"/>
          <p:cNvSpPr>
            <a:spLocks noGrp="1"/>
          </p:cNvSpPr>
          <p:nvPr>
            <p:ph sz="quarter" idx="13" hasCustomPrompt="1"/>
          </p:nvPr>
        </p:nvSpPr>
        <p:spPr>
          <a:xfrm>
            <a:off x="408000" y="2016000"/>
            <a:ext cx="5616000" cy="4320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22" name="Content Placeholder 2"/>
          <p:cNvSpPr>
            <a:spLocks noGrp="1"/>
          </p:cNvSpPr>
          <p:nvPr>
            <p:ph sz="quarter" idx="14" hasCustomPrompt="1"/>
          </p:nvPr>
        </p:nvSpPr>
        <p:spPr>
          <a:xfrm>
            <a:off x="6168000" y="2015067"/>
            <a:ext cx="5616000" cy="4320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3" name="Heading Placeholder 1"/>
          <p:cNvSpPr>
            <a:spLocks noGrp="1"/>
          </p:cNvSpPr>
          <p:nvPr>
            <p:ph type="body" idx="1" hasCustomPrompt="1"/>
          </p:nvPr>
        </p:nvSpPr>
        <p:spPr>
          <a:xfrm>
            <a:off x="408000" y="1440000"/>
            <a:ext cx="5616000" cy="336000"/>
          </a:xfrm>
          <a:noFill/>
        </p:spPr>
        <p:txBody>
          <a:bodyPr wrap="square" lIns="0" tIns="0" rIns="0" bIns="0" anchor="t"/>
          <a:lstStyle>
            <a:lvl1pPr marL="0" indent="0">
              <a:lnSpc>
                <a:spcPct val="100000"/>
              </a:lnSpc>
              <a:spcAft>
                <a:spcPts val="0"/>
              </a:spcAft>
              <a:buFontTx/>
              <a:buNone/>
              <a:defRPr sz="2133">
                <a:solidFill>
                  <a:srgbClr val="0066FF"/>
                </a:solidFill>
              </a:defRPr>
            </a:lvl1pPr>
          </a:lstStyle>
          <a:p>
            <a:pPr lvl="0"/>
            <a:r>
              <a:rPr lang="en-GB"/>
              <a:t>Heading 16 pt, single line</a:t>
            </a:r>
          </a:p>
        </p:txBody>
      </p:sp>
      <p:sp>
        <p:nvSpPr>
          <p:cNvPr id="5" name="Heading Placeholder 2"/>
          <p:cNvSpPr>
            <a:spLocks noGrp="1"/>
          </p:cNvSpPr>
          <p:nvPr>
            <p:ph type="body" sz="quarter" idx="3" hasCustomPrompt="1"/>
          </p:nvPr>
        </p:nvSpPr>
        <p:spPr>
          <a:xfrm>
            <a:off x="6168813" y="1440000"/>
            <a:ext cx="5616000" cy="336000"/>
          </a:xfrm>
          <a:noFill/>
        </p:spPr>
        <p:txBody>
          <a:bodyPr wrap="square" lIns="0" tIns="0" rIns="0" bIns="0" anchor="t"/>
          <a:lstStyle>
            <a:lvl1pPr marL="0" indent="0">
              <a:lnSpc>
                <a:spcPct val="100000"/>
              </a:lnSpc>
              <a:spcAft>
                <a:spcPts val="0"/>
              </a:spcAft>
              <a:buFontTx/>
              <a:buNone/>
              <a:defRPr sz="2133">
                <a:solidFill>
                  <a:srgbClr val="0066FF"/>
                </a:solidFill>
              </a:defRPr>
            </a:lvl1pPr>
          </a:lstStyle>
          <a:p>
            <a:pPr lvl="0"/>
            <a:r>
              <a:rPr lang="en-GB"/>
              <a:t>Heading 16 pt, single line</a:t>
            </a:r>
          </a:p>
        </p:txBody>
      </p:sp>
    </p:spTree>
    <p:extLst>
      <p:ext uri="{BB962C8B-B14F-4D97-AF65-F5344CB8AC3E}">
        <p14:creationId xmlns:p14="http://schemas.microsoft.com/office/powerpoint/2010/main" val="102806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14">
          <p15:clr>
            <a:srgbClr val="A4A3A4"/>
          </p15:clr>
        </p15:guide>
        <p15:guide id="2" pos="2846">
          <p15:clr>
            <a:srgbClr val="A4A3A4"/>
          </p15:clr>
        </p15:guide>
        <p15:guide id="3" orient="horz" pos="952">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2">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3" name="Date Placeholder 1"/>
          <p:cNvSpPr>
            <a:spLocks noGrp="1"/>
          </p:cNvSpPr>
          <p:nvPr>
            <p:ph type="dt" sz="half" idx="10"/>
          </p:nvPr>
        </p:nvSpPr>
        <p:spPr/>
        <p:txBody>
          <a:bodyPr/>
          <a:lstStyle/>
          <a:p>
            <a:r>
              <a:rPr lang="de-DE"/>
              <a:t>3rd-4th September 2024</a:t>
            </a:r>
            <a:endParaRPr lang="en-GB"/>
          </a:p>
        </p:txBody>
      </p:sp>
      <p:sp>
        <p:nvSpPr>
          <p:cNvPr id="15" name="Footer Placeholder 1"/>
          <p:cNvSpPr>
            <a:spLocks noGrp="1"/>
          </p:cNvSpPr>
          <p:nvPr>
            <p:ph type="ftr" sz="quarter" idx="12"/>
          </p:nvPr>
        </p:nvSpPr>
        <p:spPr/>
        <p:txBody>
          <a:bodyPr/>
          <a:lstStyle/>
          <a:p>
            <a:r>
              <a:rPr lang="fr-FR"/>
              <a:t>Digital Solution P&amp;C | Embrace Pet Portfolio </a:t>
            </a:r>
            <a:endParaRPr lang="en-GB"/>
          </a:p>
        </p:txBody>
      </p:sp>
      <p:sp>
        <p:nvSpPr>
          <p:cNvPr id="2" name="Titel 1"/>
          <p:cNvSpPr>
            <a:spLocks noGrp="1"/>
          </p:cNvSpPr>
          <p:nvPr>
            <p:ph type="title" hasCustomPrompt="1"/>
          </p:nvPr>
        </p:nvSpPr>
        <p:spPr/>
        <p:txBody>
          <a:bodyPr/>
          <a:lstStyle>
            <a:lvl1pPr>
              <a:defRPr/>
            </a:lvl1pPr>
          </a:lstStyle>
          <a:p>
            <a:r>
              <a:rPr lang="en-GB"/>
              <a:t>Title 20 pt, two lines max. and two content blocks</a:t>
            </a:r>
          </a:p>
        </p:txBody>
      </p:sp>
      <p:sp>
        <p:nvSpPr>
          <p:cNvPr id="20" name="Content Placeholder 1"/>
          <p:cNvSpPr>
            <a:spLocks noGrp="1"/>
          </p:cNvSpPr>
          <p:nvPr>
            <p:ph sz="quarter" idx="13" hasCustomPrompt="1"/>
          </p:nvPr>
        </p:nvSpPr>
        <p:spPr>
          <a:xfrm>
            <a:off x="0" y="1872000"/>
            <a:ext cx="6096000" cy="4464000"/>
          </a:xfrm>
          <a:solidFill>
            <a:schemeClr val="tx2"/>
          </a:solidFill>
        </p:spPr>
        <p:txBody>
          <a:bodyPr lIns="306000" tIns="108000" rIns="108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22" name="Content Placeholder 2"/>
          <p:cNvSpPr>
            <a:spLocks noGrp="1"/>
          </p:cNvSpPr>
          <p:nvPr>
            <p:ph sz="quarter" idx="14" hasCustomPrompt="1"/>
          </p:nvPr>
        </p:nvSpPr>
        <p:spPr>
          <a:xfrm>
            <a:off x="6096000" y="1872000"/>
            <a:ext cx="6096000" cy="4464000"/>
          </a:xfrm>
          <a:solidFill>
            <a:schemeClr val="tx2"/>
          </a:solidFill>
        </p:spPr>
        <p:txBody>
          <a:bodyPr lIns="108000" tIns="108000" rIns="360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3" name="Heading Placeholder 1"/>
          <p:cNvSpPr>
            <a:spLocks noGrp="1"/>
          </p:cNvSpPr>
          <p:nvPr>
            <p:ph type="body" idx="1" hasCustomPrompt="1"/>
          </p:nvPr>
        </p:nvSpPr>
        <p:spPr>
          <a:xfrm>
            <a:off x="0" y="1440000"/>
            <a:ext cx="6096000" cy="432000"/>
          </a:xfrm>
          <a:noFill/>
        </p:spPr>
        <p:txBody>
          <a:bodyPr wrap="square" lIns="306000" tIns="0" rIns="108000" bIns="0" anchor="t"/>
          <a:lstStyle>
            <a:lvl1pPr marL="0" indent="0">
              <a:lnSpc>
                <a:spcPct val="100000"/>
              </a:lnSpc>
              <a:spcAft>
                <a:spcPts val="0"/>
              </a:spcAft>
              <a:buFontTx/>
              <a:buNone/>
              <a:defRPr sz="2133">
                <a:solidFill>
                  <a:srgbClr val="0066FF"/>
                </a:solidFill>
              </a:defRPr>
            </a:lvl1pPr>
          </a:lstStyle>
          <a:p>
            <a:pPr lvl="0"/>
            <a:r>
              <a:rPr lang="en-GB"/>
              <a:t>Heading 16 pt, single line</a:t>
            </a:r>
          </a:p>
        </p:txBody>
      </p:sp>
      <p:sp>
        <p:nvSpPr>
          <p:cNvPr id="5" name="Heading  Placeholder 2"/>
          <p:cNvSpPr>
            <a:spLocks noGrp="1"/>
          </p:cNvSpPr>
          <p:nvPr>
            <p:ph type="body" sz="quarter" idx="3" hasCustomPrompt="1"/>
          </p:nvPr>
        </p:nvSpPr>
        <p:spPr>
          <a:xfrm>
            <a:off x="6096000" y="1440000"/>
            <a:ext cx="6096000" cy="432000"/>
          </a:xfrm>
          <a:noFill/>
        </p:spPr>
        <p:txBody>
          <a:bodyPr wrap="square" lIns="108000" tIns="0" rIns="360000" bIns="0" anchor="t"/>
          <a:lstStyle>
            <a:lvl1pPr marL="0" indent="0">
              <a:lnSpc>
                <a:spcPct val="100000"/>
              </a:lnSpc>
              <a:spcAft>
                <a:spcPts val="0"/>
              </a:spcAft>
              <a:buFontTx/>
              <a:buNone/>
              <a:defRPr sz="2133">
                <a:solidFill>
                  <a:srgbClr val="0066FF"/>
                </a:solidFill>
              </a:defRPr>
            </a:lvl1pPr>
          </a:lstStyle>
          <a:p>
            <a:pPr lvl="0"/>
            <a:r>
              <a:rPr lang="en-GB"/>
              <a:t>Heading 16 pt, single line</a:t>
            </a:r>
          </a:p>
        </p:txBody>
      </p:sp>
    </p:spTree>
    <p:extLst>
      <p:ext uri="{BB962C8B-B14F-4D97-AF65-F5344CB8AC3E}">
        <p14:creationId xmlns:p14="http://schemas.microsoft.com/office/powerpoint/2010/main" val="2596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880">
          <p15:clr>
            <a:srgbClr val="A4A3A4"/>
          </p15:clr>
        </p15:guide>
        <p15:guide id="4" orient="horz" pos="884">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6" name="Date Placeholder 1"/>
          <p:cNvSpPr>
            <a:spLocks noGrp="1"/>
          </p:cNvSpPr>
          <p:nvPr>
            <p:ph type="dt" sz="half" idx="10"/>
          </p:nvPr>
        </p:nvSpPr>
        <p:spPr/>
        <p:txBody>
          <a:bodyPr/>
          <a:lstStyle/>
          <a:p>
            <a:r>
              <a:rPr lang="de-DE"/>
              <a:t>3rd-4th September 2024</a:t>
            </a:r>
            <a:endParaRPr lang="en-GB"/>
          </a:p>
        </p:txBody>
      </p:sp>
      <p:sp>
        <p:nvSpPr>
          <p:cNvPr id="18" name="Footer Placeholder 1"/>
          <p:cNvSpPr>
            <a:spLocks noGrp="1"/>
          </p:cNvSpPr>
          <p:nvPr>
            <p:ph type="ftr" sz="quarter" idx="12"/>
          </p:nvPr>
        </p:nvSpPr>
        <p:spPr/>
        <p:txBody>
          <a:bodyPr/>
          <a:lstStyle/>
          <a:p>
            <a:r>
              <a:rPr lang="fr-FR"/>
              <a:t>Digital Solution P&amp;C | Embrace Pet Portfolio </a:t>
            </a:r>
            <a:endParaRPr lang="en-GB"/>
          </a:p>
        </p:txBody>
      </p:sp>
      <p:sp>
        <p:nvSpPr>
          <p:cNvPr id="2" name="Titel 1"/>
          <p:cNvSpPr>
            <a:spLocks noGrp="1"/>
          </p:cNvSpPr>
          <p:nvPr>
            <p:ph type="title" hasCustomPrompt="1"/>
          </p:nvPr>
        </p:nvSpPr>
        <p:spPr/>
        <p:txBody>
          <a:bodyPr/>
          <a:lstStyle/>
          <a:p>
            <a:r>
              <a:rPr lang="en-GB" noProof="0"/>
              <a:t>Title 20 pt, two lines max. and three pictures with text</a:t>
            </a:r>
          </a:p>
        </p:txBody>
      </p:sp>
      <p:sp>
        <p:nvSpPr>
          <p:cNvPr id="19" name="Picture Placeholder 1"/>
          <p:cNvSpPr>
            <a:spLocks noGrp="1"/>
          </p:cNvSpPr>
          <p:nvPr>
            <p:ph type="pic" sz="quarter" idx="13" hasCustomPrompt="1"/>
          </p:nvPr>
        </p:nvSpPr>
        <p:spPr>
          <a:xfrm>
            <a:off x="0" y="1440000"/>
            <a:ext cx="4104000" cy="2880000"/>
          </a:xfrm>
        </p:spPr>
        <p:txBody>
          <a:bodyPr>
            <a:noAutofit/>
          </a:bodyPr>
          <a:lstStyle>
            <a:lvl1pPr marL="0" indent="0" algn="ctr">
              <a:buFontTx/>
              <a:buNone/>
              <a:defRPr/>
            </a:lvl1pPr>
          </a:lstStyle>
          <a:p>
            <a:r>
              <a:rPr lang="en-GB" noProof="0"/>
              <a:t>To insert a picture, click on the icon in the middle.</a:t>
            </a:r>
          </a:p>
        </p:txBody>
      </p:sp>
      <p:sp>
        <p:nvSpPr>
          <p:cNvPr id="20" name="Picture Placeholder 2"/>
          <p:cNvSpPr>
            <a:spLocks noGrp="1"/>
          </p:cNvSpPr>
          <p:nvPr>
            <p:ph type="pic" sz="quarter" idx="14" hasCustomPrompt="1"/>
          </p:nvPr>
        </p:nvSpPr>
        <p:spPr>
          <a:xfrm>
            <a:off x="4104000" y="1440000"/>
            <a:ext cx="3984000" cy="2880000"/>
          </a:xfrm>
        </p:spPr>
        <p:txBody>
          <a:bodyPr>
            <a:noAutofit/>
          </a:bodyPr>
          <a:lstStyle>
            <a:lvl1pPr marL="0" indent="0" algn="ctr">
              <a:buFontTx/>
              <a:buNone/>
              <a:tabLst/>
              <a:defRPr/>
            </a:lvl1pPr>
          </a:lstStyle>
          <a:p>
            <a:r>
              <a:rPr lang="en-GB" noProof="0"/>
              <a:t>To insert a picture, click on the icon in the middle.</a:t>
            </a:r>
          </a:p>
        </p:txBody>
      </p:sp>
      <p:sp>
        <p:nvSpPr>
          <p:cNvPr id="21" name="Picture Placeholder 3"/>
          <p:cNvSpPr>
            <a:spLocks noGrp="1"/>
          </p:cNvSpPr>
          <p:nvPr>
            <p:ph type="pic" sz="quarter" idx="15" hasCustomPrompt="1"/>
          </p:nvPr>
        </p:nvSpPr>
        <p:spPr>
          <a:xfrm>
            <a:off x="8088000" y="1440000"/>
            <a:ext cx="4104000" cy="2880000"/>
          </a:xfrm>
        </p:spPr>
        <p:txBody>
          <a:bodyPr>
            <a:normAutofit/>
          </a:bodyPr>
          <a:lstStyle>
            <a:lvl1pPr marL="0" indent="0" algn="ctr">
              <a:buFontTx/>
              <a:buNone/>
              <a:defRPr/>
            </a:lvl1pPr>
          </a:lstStyle>
          <a:p>
            <a:r>
              <a:rPr lang="en-GB" noProof="0"/>
              <a:t>To insert a picture, click on the icon in the middle.</a:t>
            </a:r>
          </a:p>
        </p:txBody>
      </p:sp>
      <p:sp>
        <p:nvSpPr>
          <p:cNvPr id="23" name="Text  Placeholder 1"/>
          <p:cNvSpPr>
            <a:spLocks noGrp="1"/>
          </p:cNvSpPr>
          <p:nvPr>
            <p:ph type="body" sz="quarter" idx="16" hasCustomPrompt="1"/>
          </p:nvPr>
        </p:nvSpPr>
        <p:spPr>
          <a:xfrm>
            <a:off x="0" y="4464000"/>
            <a:ext cx="4104000" cy="1872000"/>
          </a:xfrm>
        </p:spPr>
        <p:txBody>
          <a:bodyPr vert="horz" lIns="360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To customise the points hierarchy, use Start &gt; Paragraph &gt; Decrease/Increase List Level</a:t>
            </a:r>
          </a:p>
          <a:p>
            <a:pPr lvl="1"/>
            <a:r>
              <a:rPr lang="en-GB" noProof="0"/>
              <a:t>Second level</a:t>
            </a:r>
          </a:p>
        </p:txBody>
      </p:sp>
      <p:sp>
        <p:nvSpPr>
          <p:cNvPr id="24" name="Text Placeholder 2"/>
          <p:cNvSpPr>
            <a:spLocks noGrp="1"/>
          </p:cNvSpPr>
          <p:nvPr>
            <p:ph type="body" sz="quarter" idx="17" hasCustomPrompt="1"/>
          </p:nvPr>
        </p:nvSpPr>
        <p:spPr>
          <a:xfrm>
            <a:off x="4104000" y="4464000"/>
            <a:ext cx="3984000" cy="1872000"/>
          </a:xfrm>
        </p:spPr>
        <p:txBody>
          <a:bodyPr vert="horz" lIns="108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To customise the points hierarchy, use Start &gt; Paragraph &gt; Decrease/Increase List Level.</a:t>
            </a:r>
          </a:p>
          <a:p>
            <a:pPr lvl="1"/>
            <a:r>
              <a:rPr lang="en-GB" noProof="0"/>
              <a:t>Second level</a:t>
            </a:r>
          </a:p>
        </p:txBody>
      </p:sp>
      <p:sp>
        <p:nvSpPr>
          <p:cNvPr id="25" name="Text Placeholder 3"/>
          <p:cNvSpPr>
            <a:spLocks noGrp="1"/>
          </p:cNvSpPr>
          <p:nvPr>
            <p:ph type="body" sz="quarter" idx="18" hasCustomPrompt="1"/>
          </p:nvPr>
        </p:nvSpPr>
        <p:spPr>
          <a:xfrm>
            <a:off x="8088000" y="4464000"/>
            <a:ext cx="4104000" cy="1872000"/>
          </a:xfrm>
        </p:spPr>
        <p:txBody>
          <a:bodyPr vert="horz" lIns="108000" tIns="0" rIns="360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GB" noProof="0"/>
              <a:t>To customise the points hierarchy, use Start &gt; Paragraph &gt; Decrease/Increase List Level.</a:t>
            </a:r>
          </a:p>
          <a:p>
            <a:pPr lvl="1"/>
            <a:r>
              <a:rPr lang="en-GB" noProof="0"/>
              <a:t>Second level</a:t>
            </a:r>
          </a:p>
        </p:txBody>
      </p:sp>
      <p:sp>
        <p:nvSpPr>
          <p:cNvPr id="15" name="Source 1"/>
          <p:cNvSpPr>
            <a:spLocks noGrp="1"/>
          </p:cNvSpPr>
          <p:nvPr>
            <p:ph type="body" sz="quarter" idx="23" hasCustomPrompt="1"/>
          </p:nvPr>
        </p:nvSpPr>
        <p:spPr>
          <a:xfrm>
            <a:off x="936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
        <p:nvSpPr>
          <p:cNvPr id="14" name="Source 2"/>
          <p:cNvSpPr>
            <a:spLocks noGrp="1"/>
          </p:cNvSpPr>
          <p:nvPr>
            <p:ph type="body" sz="quarter" idx="22" hasCustomPrompt="1"/>
          </p:nvPr>
        </p:nvSpPr>
        <p:spPr>
          <a:xfrm>
            <a:off x="4920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
        <p:nvSpPr>
          <p:cNvPr id="13" name="Source 3"/>
          <p:cNvSpPr>
            <a:spLocks noGrp="1"/>
          </p:cNvSpPr>
          <p:nvPr>
            <p:ph type="body" sz="quarter" idx="12" hasCustomPrompt="1"/>
          </p:nvPr>
        </p:nvSpPr>
        <p:spPr>
          <a:xfrm>
            <a:off x="9024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240913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041">
          <p15:clr>
            <a:srgbClr val="A4A3A4"/>
          </p15:clr>
        </p15:guide>
        <p15:guide id="2" orient="horz" pos="2109">
          <p15:clr>
            <a:srgbClr val="A4A3A4"/>
          </p15:clr>
        </p15:guide>
        <p15:guide id="3" pos="1939">
          <p15:clr>
            <a:srgbClr val="A4A3A4"/>
          </p15:clr>
        </p15:guide>
        <p15:guide id="4" pos="382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6" name="Date Placeholder 1"/>
          <p:cNvSpPr>
            <a:spLocks noGrp="1"/>
          </p:cNvSpPr>
          <p:nvPr>
            <p:ph type="dt" sz="half" idx="10"/>
          </p:nvPr>
        </p:nvSpPr>
        <p:spPr/>
        <p:txBody>
          <a:bodyPr/>
          <a:lstStyle/>
          <a:p>
            <a:r>
              <a:rPr lang="de-DE"/>
              <a:t>3rd-4th September 2024</a:t>
            </a:r>
            <a:endParaRPr lang="en-GB"/>
          </a:p>
        </p:txBody>
      </p:sp>
      <p:sp>
        <p:nvSpPr>
          <p:cNvPr id="18" name="Footer Placeholder 1"/>
          <p:cNvSpPr>
            <a:spLocks noGrp="1"/>
          </p:cNvSpPr>
          <p:nvPr>
            <p:ph type="ftr" sz="quarter" idx="12"/>
          </p:nvPr>
        </p:nvSpPr>
        <p:spPr/>
        <p:txBody>
          <a:bodyPr/>
          <a:lstStyle/>
          <a:p>
            <a:r>
              <a:rPr lang="fr-FR"/>
              <a:t>Digital Solution P&amp;C | Embrace Pet Portfolio </a:t>
            </a:r>
            <a:endParaRPr lang="en-GB"/>
          </a:p>
        </p:txBody>
      </p:sp>
      <p:sp>
        <p:nvSpPr>
          <p:cNvPr id="12" name="Titel 1"/>
          <p:cNvSpPr>
            <a:spLocks noGrp="1"/>
          </p:cNvSpPr>
          <p:nvPr>
            <p:ph type="title" hasCustomPrompt="1"/>
          </p:nvPr>
        </p:nvSpPr>
        <p:spPr/>
        <p:txBody>
          <a:bodyPr/>
          <a:lstStyle/>
          <a:p>
            <a:r>
              <a:rPr lang="en-GB" noProof="0"/>
              <a:t>Title 20 pt, two lines max. and three pictures with text</a:t>
            </a:r>
          </a:p>
        </p:txBody>
      </p:sp>
      <p:sp>
        <p:nvSpPr>
          <p:cNvPr id="5" name="Content Placeholder 1"/>
          <p:cNvSpPr>
            <a:spLocks noGrp="1"/>
          </p:cNvSpPr>
          <p:nvPr>
            <p:ph sz="quarter" idx="13" hasCustomPrompt="1"/>
          </p:nvPr>
        </p:nvSpPr>
        <p:spPr>
          <a:xfrm>
            <a:off x="408000" y="1440000"/>
            <a:ext cx="3696000" cy="4896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6" name="Content Placeholder 3"/>
          <p:cNvSpPr>
            <a:spLocks noGrp="1"/>
          </p:cNvSpPr>
          <p:nvPr>
            <p:ph sz="quarter" idx="15" hasCustomPrompt="1"/>
          </p:nvPr>
        </p:nvSpPr>
        <p:spPr>
          <a:xfrm>
            <a:off x="8088000" y="1440000"/>
            <a:ext cx="3696000" cy="4896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7" name="Content Placeholder 2"/>
          <p:cNvSpPr>
            <a:spLocks noGrp="1"/>
          </p:cNvSpPr>
          <p:nvPr>
            <p:ph sz="quarter" idx="14" hasCustomPrompt="1"/>
          </p:nvPr>
        </p:nvSpPr>
        <p:spPr>
          <a:xfrm>
            <a:off x="4248000" y="1440000"/>
            <a:ext cx="3696000" cy="4896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4223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1939">
          <p15:clr>
            <a:srgbClr val="A4A3A4"/>
          </p15:clr>
        </p15:guide>
        <p15:guide id="4" pos="2007">
          <p15:clr>
            <a:srgbClr val="A4A3A4"/>
          </p15:clr>
        </p15:guide>
        <p15:guide id="5" pos="3753">
          <p15:clr>
            <a:srgbClr val="A4A3A4"/>
          </p15:clr>
        </p15:guide>
        <p15:guide id="6" pos="382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s horizontal">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3" name="Date Placeholder 1"/>
          <p:cNvSpPr>
            <a:spLocks noGrp="1"/>
          </p:cNvSpPr>
          <p:nvPr>
            <p:ph type="dt" sz="half" idx="10"/>
          </p:nvPr>
        </p:nvSpPr>
        <p:spPr/>
        <p:txBody>
          <a:bodyPr/>
          <a:lstStyle/>
          <a:p>
            <a:r>
              <a:rPr lang="de-DE"/>
              <a:t>3rd-4th September 2024</a:t>
            </a:r>
            <a:endParaRPr lang="en-GB"/>
          </a:p>
        </p:txBody>
      </p:sp>
      <p:sp>
        <p:nvSpPr>
          <p:cNvPr id="18" name="Footer Placeholder 1"/>
          <p:cNvSpPr>
            <a:spLocks noGrp="1"/>
          </p:cNvSpPr>
          <p:nvPr>
            <p:ph type="ftr" sz="quarter" idx="12"/>
          </p:nvPr>
        </p:nvSpPr>
        <p:spPr/>
        <p:txBody>
          <a:bodyPr/>
          <a:lstStyle/>
          <a:p>
            <a:r>
              <a:rPr lang="fr-FR"/>
              <a:t>Digital Solution P&amp;C | Embrace Pet Portfolio </a:t>
            </a:r>
            <a:endParaRPr lang="en-GB"/>
          </a:p>
        </p:txBody>
      </p:sp>
      <p:sp>
        <p:nvSpPr>
          <p:cNvPr id="2" name="Titel 1"/>
          <p:cNvSpPr>
            <a:spLocks noGrp="1"/>
          </p:cNvSpPr>
          <p:nvPr>
            <p:ph type="title" hasCustomPrompt="1"/>
          </p:nvPr>
        </p:nvSpPr>
        <p:spPr/>
        <p:txBody>
          <a:bodyPr/>
          <a:lstStyle>
            <a:lvl1pPr>
              <a:defRPr/>
            </a:lvl1pPr>
          </a:lstStyle>
          <a:p>
            <a:r>
              <a:rPr lang="en-GB"/>
              <a:t>Title 20 pt, two lines max. and two content blocks</a:t>
            </a:r>
          </a:p>
        </p:txBody>
      </p:sp>
      <p:sp>
        <p:nvSpPr>
          <p:cNvPr id="5" name="Content Placeholder 1"/>
          <p:cNvSpPr>
            <a:spLocks noGrp="1"/>
          </p:cNvSpPr>
          <p:nvPr>
            <p:ph sz="quarter" idx="13" hasCustomPrompt="1"/>
          </p:nvPr>
        </p:nvSpPr>
        <p:spPr>
          <a:xfrm>
            <a:off x="408000" y="1440000"/>
            <a:ext cx="11376000" cy="2304000"/>
          </a:xfrm>
          <a:noFill/>
        </p:spPr>
        <p:txBody>
          <a:bodyPr lIns="0" tIns="0" rIns="165600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6" name="Content Placeholder 2"/>
          <p:cNvSpPr>
            <a:spLocks noGrp="1"/>
          </p:cNvSpPr>
          <p:nvPr>
            <p:ph sz="quarter" idx="14" hasCustomPrompt="1"/>
          </p:nvPr>
        </p:nvSpPr>
        <p:spPr>
          <a:xfrm>
            <a:off x="408000" y="4032000"/>
            <a:ext cx="11376000" cy="2304000"/>
          </a:xfrm>
          <a:noFill/>
        </p:spPr>
        <p:txBody>
          <a:bodyPr lIns="0" tIns="0" rIns="165600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3916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769">
          <p15:clr>
            <a:srgbClr val="A4A3A4"/>
          </p15:clr>
        </p15:guide>
        <p15:guide id="6" orient="horz" pos="1905">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3" name="Date Placeholder 1"/>
          <p:cNvSpPr>
            <a:spLocks noGrp="1"/>
          </p:cNvSpPr>
          <p:nvPr>
            <p:ph type="dt" sz="half" idx="10"/>
          </p:nvPr>
        </p:nvSpPr>
        <p:spPr/>
        <p:txBody>
          <a:bodyPr/>
          <a:lstStyle/>
          <a:p>
            <a:r>
              <a:rPr lang="de-DE"/>
              <a:t>3rd-4th September 2024</a:t>
            </a:r>
            <a:endParaRPr lang="en-GB"/>
          </a:p>
        </p:txBody>
      </p:sp>
      <p:sp>
        <p:nvSpPr>
          <p:cNvPr id="15" name="Footer Placeholder 1"/>
          <p:cNvSpPr>
            <a:spLocks noGrp="1"/>
          </p:cNvSpPr>
          <p:nvPr>
            <p:ph type="ftr" sz="quarter" idx="12"/>
          </p:nvPr>
        </p:nvSpPr>
        <p:spPr/>
        <p:txBody>
          <a:bodyPr/>
          <a:lstStyle/>
          <a:p>
            <a:r>
              <a:rPr lang="fr-FR"/>
              <a:t>Digital Solution P&amp;C | Embrace Pet Portfolio </a:t>
            </a:r>
            <a:endParaRPr lang="en-GB"/>
          </a:p>
        </p:txBody>
      </p:sp>
      <p:sp>
        <p:nvSpPr>
          <p:cNvPr id="2" name="Titel 1"/>
          <p:cNvSpPr>
            <a:spLocks noGrp="1"/>
          </p:cNvSpPr>
          <p:nvPr>
            <p:ph type="title" hasCustomPrompt="1"/>
          </p:nvPr>
        </p:nvSpPr>
        <p:spPr/>
        <p:txBody>
          <a:bodyPr/>
          <a:lstStyle>
            <a:lvl1pPr>
              <a:defRPr/>
            </a:lvl1pPr>
          </a:lstStyle>
          <a:p>
            <a:r>
              <a:rPr lang="en-GB"/>
              <a:t>Title 20 pt, two lines max. and four content blocks</a:t>
            </a:r>
          </a:p>
        </p:txBody>
      </p:sp>
      <p:sp>
        <p:nvSpPr>
          <p:cNvPr id="5" name="Content Placeholder 1"/>
          <p:cNvSpPr>
            <a:spLocks noGrp="1"/>
          </p:cNvSpPr>
          <p:nvPr>
            <p:ph sz="quarter" idx="13" hasCustomPrompt="1"/>
          </p:nvPr>
        </p:nvSpPr>
        <p:spPr>
          <a:xfrm>
            <a:off x="408000" y="1440000"/>
            <a:ext cx="5616000" cy="2304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6" name="Content Placeholder 2"/>
          <p:cNvSpPr>
            <a:spLocks noGrp="1"/>
          </p:cNvSpPr>
          <p:nvPr>
            <p:ph sz="quarter" idx="14" hasCustomPrompt="1"/>
          </p:nvPr>
        </p:nvSpPr>
        <p:spPr>
          <a:xfrm>
            <a:off x="408000" y="4032000"/>
            <a:ext cx="5616000" cy="2304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76" name="Content Placeholder 3"/>
          <p:cNvSpPr>
            <a:spLocks noGrp="1"/>
          </p:cNvSpPr>
          <p:nvPr>
            <p:ph sz="quarter" idx="15" hasCustomPrompt="1"/>
          </p:nvPr>
        </p:nvSpPr>
        <p:spPr>
          <a:xfrm>
            <a:off x="6168000" y="1440000"/>
            <a:ext cx="5616000" cy="2304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6168000" y="4032000"/>
            <a:ext cx="5616000" cy="23040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0609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1905">
          <p15:clr>
            <a:srgbClr val="A4A3A4"/>
          </p15:clr>
        </p15:guide>
        <p15:guide id="6" pos="2914">
          <p15:clr>
            <a:srgbClr val="A4A3A4"/>
          </p15:clr>
        </p15:guide>
        <p15:guide id="7" pos="2846">
          <p15:clr>
            <a:srgbClr val="A4A3A4"/>
          </p15:clr>
        </p15:guide>
        <p15:guide id="8" orient="horz" pos="176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2" name="Date Placeholder 1"/>
          <p:cNvSpPr>
            <a:spLocks noGrp="1"/>
          </p:cNvSpPr>
          <p:nvPr>
            <p:ph type="dt" sz="half" idx="10"/>
          </p:nvPr>
        </p:nvSpPr>
        <p:spPr/>
        <p:txBody>
          <a:bodyPr/>
          <a:lstStyle/>
          <a:p>
            <a:r>
              <a:rPr lang="de-DE"/>
              <a:t>3rd-4th September 2024</a:t>
            </a:r>
            <a:endParaRPr lang="en-GB"/>
          </a:p>
        </p:txBody>
      </p:sp>
      <p:sp>
        <p:nvSpPr>
          <p:cNvPr id="16" name="Footer Placeholder 1"/>
          <p:cNvSpPr>
            <a:spLocks noGrp="1"/>
          </p:cNvSpPr>
          <p:nvPr>
            <p:ph type="ftr" sz="quarter" idx="12"/>
          </p:nvPr>
        </p:nvSpPr>
        <p:spPr/>
        <p:txBody>
          <a:bodyPr/>
          <a:lstStyle/>
          <a:p>
            <a:r>
              <a:rPr lang="fr-FR"/>
              <a:t>Digital Solution P&amp;C | Embrace Pet Portfolio </a:t>
            </a:r>
            <a:endParaRPr lang="en-GB"/>
          </a:p>
        </p:txBody>
      </p:sp>
      <p:sp>
        <p:nvSpPr>
          <p:cNvPr id="8" name="Titel 1"/>
          <p:cNvSpPr>
            <a:spLocks noGrp="1"/>
          </p:cNvSpPr>
          <p:nvPr>
            <p:ph type="title" hasCustomPrompt="1"/>
          </p:nvPr>
        </p:nvSpPr>
        <p:spPr/>
        <p:txBody>
          <a:bodyPr/>
          <a:lstStyle/>
          <a:p>
            <a:r>
              <a:rPr lang="en-GB" noProof="0"/>
              <a:t>Title 20 pt, two lines max. and contents with comments column</a:t>
            </a:r>
          </a:p>
        </p:txBody>
      </p:sp>
      <p:sp>
        <p:nvSpPr>
          <p:cNvPr id="12" name="Heading Placeholder 1"/>
          <p:cNvSpPr>
            <a:spLocks noGrp="1"/>
          </p:cNvSpPr>
          <p:nvPr>
            <p:ph type="body" sz="quarter" idx="11" hasCustomPrompt="1"/>
          </p:nvPr>
        </p:nvSpPr>
        <p:spPr>
          <a:xfrm>
            <a:off x="408000" y="1440000"/>
            <a:ext cx="11376000" cy="336000"/>
          </a:xfrm>
          <a:noFill/>
        </p:spPr>
        <p:txBody>
          <a:bodyPr wrap="square" lIns="0" tIns="0" rIns="0" bIns="0" anchor="t">
            <a:noAutofit/>
          </a:bodyPr>
          <a:lstStyle>
            <a:lvl1pPr marL="0" indent="0">
              <a:lnSpc>
                <a:spcPct val="100000"/>
              </a:lnSpc>
              <a:spcBef>
                <a:spcPts val="0"/>
              </a:spcBef>
              <a:spcAft>
                <a:spcPts val="0"/>
              </a:spcAft>
              <a:buFontTx/>
              <a:buNone/>
              <a:defRPr sz="2133" b="0">
                <a:solidFill>
                  <a:srgbClr val="0066FF"/>
                </a:solidFill>
              </a:defRPr>
            </a:lvl1pPr>
          </a:lstStyle>
          <a:p>
            <a:pPr lvl="0"/>
            <a:r>
              <a:rPr lang="en-GB" noProof="0"/>
              <a:t>Heading 16 pt, single line</a:t>
            </a:r>
          </a:p>
        </p:txBody>
      </p:sp>
      <p:sp>
        <p:nvSpPr>
          <p:cNvPr id="14" name="Content Placeholder 1"/>
          <p:cNvSpPr>
            <a:spLocks noGrp="1"/>
          </p:cNvSpPr>
          <p:nvPr>
            <p:ph sz="quarter" idx="19" hasCustomPrompt="1"/>
          </p:nvPr>
        </p:nvSpPr>
        <p:spPr>
          <a:xfrm>
            <a:off x="408000" y="2016000"/>
            <a:ext cx="7368000" cy="4320000"/>
          </a:xfrm>
          <a:noFill/>
          <a:effectLst/>
        </p:spPr>
        <p:txBody>
          <a:bodyPr lIns="0" tIns="0">
            <a:noAutofit/>
          </a:bodyPr>
          <a:lstStyle>
            <a:lvl1pPr marL="0" indent="0">
              <a:spcAft>
                <a:spcPts val="0"/>
              </a:spcAft>
              <a:buFontTx/>
              <a:buNone/>
              <a:defRPr/>
            </a:lvl1pPr>
          </a:lstStyle>
          <a:p>
            <a:pPr lvl="0"/>
            <a:r>
              <a:rPr lang="en-GB"/>
              <a:t>To insert a table, chart, SmartArt graphic, picture or online graphic, click on the icon in the middle.</a:t>
            </a:r>
            <a:endParaRPr/>
          </a:p>
        </p:txBody>
      </p:sp>
      <p:sp>
        <p:nvSpPr>
          <p:cNvPr id="13" name="Text Placeholder 2"/>
          <p:cNvSpPr>
            <a:spLocks noGrp="1"/>
          </p:cNvSpPr>
          <p:nvPr>
            <p:ph type="body" sz="quarter" idx="14" hasCustomPrompt="1"/>
          </p:nvPr>
        </p:nvSpPr>
        <p:spPr>
          <a:xfrm>
            <a:off x="8064000" y="2016000"/>
            <a:ext cx="3720000" cy="4320000"/>
          </a:xfrm>
          <a:noFill/>
          <a:effectLst/>
        </p:spPr>
        <p:txBody>
          <a:bodyPr lIns="0" tIns="0" rIns="108000" bIns="0">
            <a:noAutofit/>
          </a:bodyPr>
          <a:lstStyle/>
          <a:p>
            <a:pPr lvl="0"/>
            <a:r>
              <a:rPr lang="en-GB" noProof="0"/>
              <a:t>To customise the points hierarchy, use Start &gt; Paragraph &gt; Decrease/Increase List Level.</a:t>
            </a:r>
          </a:p>
          <a:p>
            <a:pPr lvl="1"/>
            <a:r>
              <a:rPr lang="en-GB" noProof="0"/>
              <a:t>Second level</a:t>
            </a:r>
          </a:p>
          <a:p>
            <a:pPr lvl="2"/>
            <a:r>
              <a:rPr lang="en-GB" noProof="0"/>
              <a:t>Third level</a:t>
            </a:r>
          </a:p>
          <a:p>
            <a:pPr lvl="3"/>
            <a:r>
              <a:rPr lang="en-GB" noProof="0"/>
              <a:t>Fourth level</a:t>
            </a:r>
          </a:p>
        </p:txBody>
      </p:sp>
    </p:spTree>
    <p:extLst>
      <p:ext uri="{BB962C8B-B14F-4D97-AF65-F5344CB8AC3E}">
        <p14:creationId xmlns:p14="http://schemas.microsoft.com/office/powerpoint/2010/main" val="970095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810">
          <p15:clr>
            <a:srgbClr val="A4A3A4"/>
          </p15:clr>
        </p15:guide>
        <p15:guide id="3" orient="horz" pos="839">
          <p15:clr>
            <a:srgbClr val="A4A3A4"/>
          </p15:clr>
        </p15:guide>
        <p15:guide id="4" pos="3674">
          <p15:clr>
            <a:srgbClr val="A4A3A4"/>
          </p15:clr>
        </p15:guide>
        <p15:guide id="5" orient="horz" pos="952">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878F119-89DD-494B-9BAC-1A2C15F1902A}"/>
              </a:ext>
            </a:extLst>
          </p:cNvPr>
          <p:cNvGraphicFramePr>
            <a:graphicFrameLocks noChangeAspect="1"/>
          </p:cNvGraphicFramePr>
          <p:nvPr userDrawn="1">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5" name="Objekt 4" hidden="1">
                        <a:extLst>
                          <a:ext uri="{FF2B5EF4-FFF2-40B4-BE49-F238E27FC236}">
                            <a16:creationId xmlns:a16="http://schemas.microsoft.com/office/drawing/2014/main" id="{7878F119-89DD-494B-9BAC-1A2C15F1902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Picture Placeholder 1"/>
          <p:cNvSpPr>
            <a:spLocks noGrp="1"/>
          </p:cNvSpPr>
          <p:nvPr>
            <p:ph type="pic" sz="quarter" idx="13" hasCustomPrompt="1"/>
          </p:nvPr>
        </p:nvSpPr>
        <p:spPr>
          <a:xfrm>
            <a:off x="0" y="0"/>
            <a:ext cx="12192000" cy="3456000"/>
          </a:xfrm>
          <a:solidFill>
            <a:schemeClr val="tx2"/>
          </a:solidFill>
        </p:spPr>
        <p:txBody>
          <a:bodyPr tIns="72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GB"/>
              <a:t>To insert a cover picture, click on the icon in the middle.</a:t>
            </a:r>
            <a:br>
              <a:rPr lang="en-GB"/>
            </a:br>
            <a:r>
              <a:rPr lang="en-GB"/>
              <a:t>If no picture is wanted you may choose a colour instead.</a:t>
            </a:r>
          </a:p>
        </p:txBody>
      </p:sp>
      <p:pic>
        <p:nvPicPr>
          <p:cNvPr id="13" name="MR Logo 2"/>
          <p:cNvPicPr>
            <a:picLocks noChangeAspect="1"/>
          </p:cNvPicPr>
          <p:nvPr/>
        </p:nvPicPr>
        <p:blipFill>
          <a:blip r:embed="rId5"/>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408000" y="3744000"/>
            <a:ext cx="8496000" cy="1152000"/>
          </a:xfrm>
        </p:spPr>
        <p:txBody>
          <a:bodyPr vert="horz" anchor="t">
            <a:noAutofit/>
          </a:bodyPr>
          <a:lstStyle>
            <a:lvl1pPr rtl="0">
              <a:lnSpc>
                <a:spcPct val="100000"/>
              </a:lnSpc>
              <a:defRPr sz="3200" baseline="0"/>
            </a:lvl1pPr>
          </a:lstStyle>
          <a:p>
            <a:r>
              <a:rPr lang="en-GB"/>
              <a:t>Title 24 pt,</a:t>
            </a:r>
            <a:br>
              <a:rPr lang="en-GB"/>
            </a:br>
            <a:r>
              <a:rPr lang="en-GB"/>
              <a:t>two lines max.</a:t>
            </a:r>
          </a:p>
        </p:txBody>
      </p:sp>
      <p:sp>
        <p:nvSpPr>
          <p:cNvPr id="3" name="Subtitle 1"/>
          <p:cNvSpPr>
            <a:spLocks noGrp="1"/>
          </p:cNvSpPr>
          <p:nvPr>
            <p:ph type="subTitle" idx="1" hasCustomPrompt="1"/>
          </p:nvPr>
        </p:nvSpPr>
        <p:spPr>
          <a:xfrm>
            <a:off x="408000" y="5760000"/>
            <a:ext cx="8496000" cy="576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a:t>
            </a:r>
            <a:br>
              <a:rPr lang="en-GB"/>
            </a:br>
            <a:r>
              <a:rPr lang="en-GB"/>
              <a:t>Name of speaker</a:t>
            </a:r>
          </a:p>
        </p:txBody>
      </p:sp>
      <p:sp>
        <p:nvSpPr>
          <p:cNvPr id="7" name="Source 1"/>
          <p:cNvSpPr>
            <a:spLocks noGrp="1"/>
          </p:cNvSpPr>
          <p:nvPr>
            <p:ph type="body" sz="quarter" idx="12" hasCustomPrompt="1"/>
          </p:nvPr>
        </p:nvSpPr>
        <p:spPr>
          <a:xfrm>
            <a:off x="9024000" y="3168000"/>
            <a:ext cx="3168000" cy="288000"/>
          </a:xfrm>
        </p:spPr>
        <p:txBody>
          <a:bodyPr wrap="none" tIns="72000" rIns="108000" bIns="72000" anchor="ctr"/>
          <a:lstStyle>
            <a:lvl1pPr marL="0" indent="0" algn="r" rtl="0">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126795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Rechteck 1" hidden="1"/>
          <p:cNvSpPr/>
          <p:nvPr/>
        </p:nvSpPr>
        <p:spPr>
          <a:xfrm>
            <a:off x="0" y="1434000"/>
            <a:ext cx="12192000" cy="54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Text Placeholder 1"/>
          <p:cNvSpPr>
            <a:spLocks noGrp="1"/>
          </p:cNvSpPr>
          <p:nvPr>
            <p:ph type="body" sz="quarter" idx="10" hasCustomPrompt="1"/>
          </p:nvPr>
        </p:nvSpPr>
        <p:spPr>
          <a:xfrm>
            <a:off x="0" y="4896000"/>
            <a:ext cx="12192000" cy="1962667"/>
          </a:xfrm>
          <a:solidFill>
            <a:schemeClr val="tx2"/>
          </a:solidFill>
        </p:spPr>
        <p:txBody>
          <a:bodyPr lIns="306000" tIns="216000" rIns="288000">
            <a:noAutofit/>
          </a:bodyPr>
          <a:lstStyle>
            <a:lvl1pPr marL="0" indent="0">
              <a:lnSpc>
                <a:spcPct val="100000"/>
              </a:lnSpc>
              <a:spcAft>
                <a:spcPts val="0"/>
              </a:spcAft>
              <a:buFontTx/>
              <a:buNone/>
              <a:defRPr sz="2933" i="0">
                <a:solidFill>
                  <a:schemeClr val="bg1"/>
                </a:solidFill>
              </a:defRPr>
            </a:lvl1pPr>
            <a:lvl2pPr marL="0" indent="0">
              <a:lnSpc>
                <a:spcPct val="100000"/>
              </a:lnSpc>
              <a:buFontTx/>
              <a:buNone/>
              <a:defRPr sz="2933">
                <a:solidFill>
                  <a:schemeClr val="bg1"/>
                </a:solidFill>
              </a:defRPr>
            </a:lvl2pPr>
            <a:lvl3pPr marL="0" indent="0">
              <a:lnSpc>
                <a:spcPct val="100000"/>
              </a:lnSpc>
              <a:buFontTx/>
              <a:buNone/>
              <a:defRPr sz="2933">
                <a:solidFill>
                  <a:schemeClr val="bg1"/>
                </a:solidFill>
              </a:defRPr>
            </a:lvl3pPr>
            <a:lvl4pPr marL="0" indent="0">
              <a:lnSpc>
                <a:spcPct val="100000"/>
              </a:lnSpc>
              <a:buFontTx/>
              <a:buNone/>
              <a:defRPr sz="2933">
                <a:solidFill>
                  <a:schemeClr val="bg1"/>
                </a:solidFill>
              </a:defRPr>
            </a:lvl4pPr>
            <a:lvl5pPr marL="0" indent="0">
              <a:lnSpc>
                <a:spcPct val="100000"/>
              </a:lnSpc>
              <a:buFontTx/>
              <a:buNone/>
              <a:defRPr sz="2933">
                <a:solidFill>
                  <a:schemeClr val="bg1"/>
                </a:solidFill>
              </a:defRPr>
            </a:lvl5pPr>
            <a:lvl6pPr marL="0" indent="0">
              <a:lnSpc>
                <a:spcPct val="100000"/>
              </a:lnSpc>
              <a:buFontTx/>
              <a:buNone/>
              <a:defRPr sz="2933">
                <a:solidFill>
                  <a:schemeClr val="bg1"/>
                </a:solidFill>
              </a:defRPr>
            </a:lvl6pPr>
            <a:lvl7pPr marL="0" indent="0">
              <a:lnSpc>
                <a:spcPct val="100000"/>
              </a:lnSpc>
              <a:buFontTx/>
              <a:buNone/>
              <a:defRPr sz="2933">
                <a:solidFill>
                  <a:schemeClr val="bg1"/>
                </a:solidFill>
              </a:defRPr>
            </a:lvl7pPr>
            <a:lvl8pPr marL="0" indent="0">
              <a:lnSpc>
                <a:spcPct val="100000"/>
              </a:lnSpc>
              <a:buFontTx/>
              <a:buNone/>
              <a:defRPr sz="2933">
                <a:solidFill>
                  <a:schemeClr val="bg1"/>
                </a:solidFill>
              </a:defRPr>
            </a:lvl8pPr>
            <a:lvl9pPr marL="0" indent="0">
              <a:lnSpc>
                <a:spcPct val="100000"/>
              </a:lnSpc>
              <a:buFontTx/>
              <a:buNone/>
              <a:defRPr sz="2933">
                <a:solidFill>
                  <a:schemeClr val="bg1"/>
                </a:solidFill>
              </a:defRPr>
            </a:lvl9pPr>
          </a:lstStyle>
          <a:p>
            <a:pPr lvl="0"/>
            <a:r>
              <a:rPr lang="en-GB" noProof="0"/>
              <a:t>Author, two lines max. (choose background colour as desired)</a:t>
            </a:r>
          </a:p>
        </p:txBody>
      </p:sp>
      <p:sp>
        <p:nvSpPr>
          <p:cNvPr id="9" name="Titel 1"/>
          <p:cNvSpPr>
            <a:spLocks noGrp="1"/>
          </p:cNvSpPr>
          <p:nvPr>
            <p:ph type="title" hasCustomPrompt="1"/>
          </p:nvPr>
        </p:nvSpPr>
        <p:spPr>
          <a:xfrm>
            <a:off x="0" y="1440000"/>
            <a:ext cx="12192000" cy="3456000"/>
          </a:xfrm>
          <a:solidFill>
            <a:schemeClr val="tx2">
              <a:lumMod val="40000"/>
              <a:lumOff val="60000"/>
            </a:schemeClr>
          </a:solidFill>
        </p:spPr>
        <p:txBody>
          <a:bodyPr lIns="306000" tIns="216000" rIns="648000" anchor="ctr" anchorCtr="0">
            <a:noAutofit/>
          </a:bodyPr>
          <a:lstStyle>
            <a:lvl1pPr>
              <a:defRPr sz="5333" b="0" cap="none" baseline="0">
                <a:solidFill>
                  <a:schemeClr val="bg1"/>
                </a:solidFill>
              </a:defRPr>
            </a:lvl1pPr>
          </a:lstStyle>
          <a:p>
            <a:r>
              <a:rPr lang="en-GB" noProof="0"/>
              <a:t>Separating slide 40 pt, with multi-line quotation (choose background colour as desired)</a:t>
            </a:r>
          </a:p>
        </p:txBody>
      </p:sp>
    </p:spTree>
    <p:extLst>
      <p:ext uri="{BB962C8B-B14F-4D97-AF65-F5344CB8AC3E}">
        <p14:creationId xmlns:p14="http://schemas.microsoft.com/office/powerpoint/2010/main" val="345941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313">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paration slide with picture selection">
    <p:spTree>
      <p:nvGrpSpPr>
        <p:cNvPr id="1" name=""/>
        <p:cNvGrpSpPr/>
        <p:nvPr/>
      </p:nvGrpSpPr>
      <p:grpSpPr>
        <a:xfrm>
          <a:off x="0" y="0"/>
          <a:ext cx="0" cy="0"/>
          <a:chOff x="0" y="0"/>
          <a:chExt cx="0" cy="0"/>
        </a:xfrm>
      </p:grpSpPr>
      <p:sp>
        <p:nvSpPr>
          <p:cNvPr id="10" name="Picture Placeholder 1"/>
          <p:cNvSpPr>
            <a:spLocks noGrp="1"/>
          </p:cNvSpPr>
          <p:nvPr>
            <p:ph type="pic" sz="quarter" idx="10" hasCustomPrompt="1"/>
          </p:nvPr>
        </p:nvSpPr>
        <p:spPr>
          <a:xfrm>
            <a:off x="0" y="1435200"/>
            <a:ext cx="12192000" cy="5424000"/>
          </a:xfrm>
          <a:solidFill>
            <a:schemeClr val="tx2"/>
          </a:solidFill>
        </p:spPr>
        <p:txBody>
          <a:bodyPr tIns="1260000" anchor="t" anchorCtr="1"/>
          <a:lstStyle>
            <a:lvl1pPr>
              <a:buFontTx/>
              <a:buNone/>
              <a:defRPr>
                <a:solidFill>
                  <a:schemeClr val="bg1"/>
                </a:solidFill>
              </a:defRPr>
            </a:lvl1pPr>
          </a:lstStyle>
          <a:p>
            <a:r>
              <a:rPr lang="en-GB"/>
              <a:t>To insert a picture, click on the icon in the middle.</a:t>
            </a:r>
          </a:p>
        </p:txBody>
      </p:sp>
      <p:sp>
        <p:nvSpPr>
          <p:cNvPr id="4" name="Titel 1"/>
          <p:cNvSpPr>
            <a:spLocks noGrp="1"/>
          </p:cNvSpPr>
          <p:nvPr>
            <p:ph type="title" hasCustomPrompt="1"/>
          </p:nvPr>
        </p:nvSpPr>
        <p:spPr/>
        <p:txBody>
          <a:bodyPr/>
          <a:lstStyle>
            <a:lvl1pPr>
              <a:defRPr/>
            </a:lvl1pPr>
          </a:lstStyle>
          <a:p>
            <a:r>
              <a:rPr lang="en-GB"/>
              <a:t>Separating slide 20 pt, three lines max. with background picture</a:t>
            </a:r>
          </a:p>
        </p:txBody>
      </p:sp>
      <p:sp>
        <p:nvSpPr>
          <p:cNvPr id="13" name="Text Placeholder 1"/>
          <p:cNvSpPr>
            <a:spLocks noGrp="1"/>
          </p:cNvSpPr>
          <p:nvPr>
            <p:ph type="body" sz="quarter" idx="11" hasCustomPrompt="1"/>
          </p:nvPr>
        </p:nvSpPr>
        <p:spPr>
          <a:xfrm>
            <a:off x="408000" y="2736000"/>
            <a:ext cx="4656000" cy="4128000"/>
          </a:xfrm>
        </p:spPr>
        <p:txBody>
          <a:bodyPr wrap="none" anchor="t">
            <a:noAutofit/>
          </a:bodyPr>
          <a:lstStyle>
            <a:lvl1pPr marL="0" indent="0" algn="dist">
              <a:lnSpc>
                <a:spcPct val="100000"/>
              </a:lnSpc>
              <a:spcAft>
                <a:spcPts val="0"/>
              </a:spcAft>
              <a:buFontTx/>
              <a:buNone/>
              <a:defRPr sz="26666" baseline="0">
                <a:solidFill>
                  <a:schemeClr val="bg1"/>
                </a:solidFill>
              </a:defRPr>
            </a:lvl1pPr>
          </a:lstStyle>
          <a:p>
            <a:r>
              <a:rPr lang="en-GB"/>
              <a:t>1</a:t>
            </a:r>
          </a:p>
        </p:txBody>
      </p:sp>
      <p:sp>
        <p:nvSpPr>
          <p:cNvPr id="5"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152120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parating slide with background pictur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0" y="0"/>
            <a:ext cx="12192000" cy="6858267"/>
          </a:xfrm>
          <a:custGeom>
            <a:avLst/>
            <a:gdLst>
              <a:gd name="connsiteX0" fmla="*/ 0 w 9144000"/>
              <a:gd name="connsiteY0" fmla="*/ 2592000 h 5143700"/>
              <a:gd name="connsiteX1" fmla="*/ 9144000 w 9144000"/>
              <a:gd name="connsiteY1" fmla="*/ 2592000 h 5143700"/>
              <a:gd name="connsiteX2" fmla="*/ 9144000 w 9144000"/>
              <a:gd name="connsiteY2" fmla="*/ 5143700 h 5143700"/>
              <a:gd name="connsiteX3" fmla="*/ 0 w 9144000"/>
              <a:gd name="connsiteY3" fmla="*/ 5143700 h 5143700"/>
              <a:gd name="connsiteX4" fmla="*/ 0 w 9144000"/>
              <a:gd name="connsiteY4" fmla="*/ 0 h 5143700"/>
              <a:gd name="connsiteX5" fmla="*/ 9144000 w 9144000"/>
              <a:gd name="connsiteY5" fmla="*/ 0 h 5143700"/>
              <a:gd name="connsiteX6" fmla="*/ 9144000 w 9144000"/>
              <a:gd name="connsiteY6" fmla="*/ 648000 h 5143700"/>
              <a:gd name="connsiteX7" fmla="*/ 0 w 9144000"/>
              <a:gd name="connsiteY7" fmla="*/ 64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2592000"/>
                </a:moveTo>
                <a:lnTo>
                  <a:pt x="9144000" y="2592000"/>
                </a:lnTo>
                <a:lnTo>
                  <a:pt x="9144000" y="5143700"/>
                </a:lnTo>
                <a:lnTo>
                  <a:pt x="0" y="5143700"/>
                </a:lnTo>
                <a:close/>
                <a:moveTo>
                  <a:pt x="0" y="0"/>
                </a:moveTo>
                <a:lnTo>
                  <a:pt x="9144000" y="0"/>
                </a:lnTo>
                <a:lnTo>
                  <a:pt x="9144000" y="648000"/>
                </a:lnTo>
                <a:lnTo>
                  <a:pt x="0" y="648000"/>
                </a:lnTo>
                <a:close/>
              </a:path>
            </a:pathLst>
          </a:custGeom>
          <a:solidFill>
            <a:schemeClr val="tx2"/>
          </a:solidFill>
        </p:spPr>
        <p:txBody>
          <a:bodyPr wrap="square" anchor="ctr">
            <a:noAutofit/>
          </a:bodyPr>
          <a:lstStyle>
            <a:lvl1pPr marL="0" indent="0" algn="ctr">
              <a:buNone/>
              <a:defRPr>
                <a:solidFill>
                  <a:schemeClr val="bg1"/>
                </a:solidFill>
              </a:defRPr>
            </a:lvl1pPr>
          </a:lstStyle>
          <a:p>
            <a:br>
              <a:rPr lang="en-GB"/>
            </a:br>
            <a:br>
              <a:rPr lang="en-GB"/>
            </a:br>
            <a:br>
              <a:rPr lang="en-GB"/>
            </a:br>
            <a:br>
              <a:rPr lang="en-GB"/>
            </a:br>
            <a:r>
              <a:rPr lang="en-GB"/>
              <a:t>To insert a picture, click on the icon in the middle.</a:t>
            </a:r>
            <a:br>
              <a:rPr lang="en-GB"/>
            </a:br>
            <a:r>
              <a:rPr lang="en-GB"/>
              <a:t>If no picture is wanted you may choose a colour instead</a:t>
            </a:r>
          </a:p>
        </p:txBody>
      </p:sp>
      <p:sp>
        <p:nvSpPr>
          <p:cNvPr id="4" name="Titel 1"/>
          <p:cNvSpPr>
            <a:spLocks noGrp="1"/>
          </p:cNvSpPr>
          <p:nvPr>
            <p:ph type="title" hasCustomPrompt="1"/>
          </p:nvPr>
        </p:nvSpPr>
        <p:spPr>
          <a:xfrm>
            <a:off x="1920000" y="1872000"/>
            <a:ext cx="6024000" cy="1584000"/>
          </a:xfrm>
          <a:noFill/>
        </p:spPr>
        <p:txBody>
          <a:bodyPr lIns="0" tIns="0" rIns="0" bIns="0">
            <a:noAutofit/>
          </a:bodyPr>
          <a:lstStyle>
            <a:lvl1pPr>
              <a:defRPr sz="2667" b="0" cap="none" baseline="0">
                <a:solidFill>
                  <a:schemeClr val="tx2"/>
                </a:solidFill>
              </a:defRPr>
            </a:lvl1pPr>
          </a:lstStyle>
          <a:p>
            <a:r>
              <a:rPr lang="en-GB" noProof="0"/>
              <a:t>Separating slide 20 pt, three lines max. with background picture</a:t>
            </a:r>
          </a:p>
        </p:txBody>
      </p:sp>
      <p:sp>
        <p:nvSpPr>
          <p:cNvPr id="9" name="Text Placeholder 1"/>
          <p:cNvSpPr>
            <a:spLocks noGrp="1"/>
          </p:cNvSpPr>
          <p:nvPr>
            <p:ph type="body" sz="quarter" idx="24" hasCustomPrompt="1"/>
          </p:nvPr>
        </p:nvSpPr>
        <p:spPr>
          <a:xfrm>
            <a:off x="0" y="864000"/>
            <a:ext cx="1776000" cy="2304000"/>
          </a:xfrm>
          <a:noFill/>
        </p:spPr>
        <p:txBody>
          <a:bodyPr>
            <a:noAutofit/>
          </a:bodyPr>
          <a:lstStyle>
            <a:lvl1pPr marL="0" indent="0" algn="r">
              <a:buFontTx/>
              <a:buNone/>
              <a:defRPr sz="10666">
                <a:solidFill>
                  <a:srgbClr val="0066FF"/>
                </a:solidFill>
              </a:defRPr>
            </a:lvl1pPr>
          </a:lstStyle>
          <a:p>
            <a:pPr lvl="0"/>
            <a:r>
              <a:rPr lang="en-GB"/>
              <a:t>1</a:t>
            </a:r>
          </a:p>
        </p:txBody>
      </p:sp>
      <p:sp>
        <p:nvSpPr>
          <p:cNvPr id="5"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496232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Title, Background Picture and Comments Column">
    <p:spTree>
      <p:nvGrpSpPr>
        <p:cNvPr id="1" name=""/>
        <p:cNvGrpSpPr/>
        <p:nvPr/>
      </p:nvGrpSpPr>
      <p:grpSpPr>
        <a:xfrm>
          <a:off x="0" y="0"/>
          <a:ext cx="0" cy="0"/>
          <a:chOff x="0" y="0"/>
          <a:chExt cx="0" cy="0"/>
        </a:xfrm>
      </p:grpSpPr>
      <p:sp>
        <p:nvSpPr>
          <p:cNvPr id="14" name="Picture Placeholder 1"/>
          <p:cNvSpPr>
            <a:spLocks noGrp="1"/>
          </p:cNvSpPr>
          <p:nvPr>
            <p:ph type="pic" sz="quarter" idx="19" hasCustomPrompt="1"/>
          </p:nvPr>
        </p:nvSpPr>
        <p:spPr>
          <a:xfrm>
            <a:off x="0" y="1440000"/>
            <a:ext cx="12192000" cy="5422667"/>
          </a:xfrm>
          <a:solidFill>
            <a:schemeClr val="tx2"/>
          </a:solidFill>
        </p:spPr>
        <p:txBody>
          <a:bodyPr rIns="3888000" anchor="ctr"/>
          <a:lstStyle>
            <a:lvl1pPr marL="4180313" indent="0" algn="ctr">
              <a:buNone/>
              <a:defRPr>
                <a:solidFill>
                  <a:schemeClr val="bg1"/>
                </a:solidFill>
              </a:defRPr>
            </a:lvl1pPr>
          </a:lstStyle>
          <a:p>
            <a:r>
              <a:rPr lang="en-GB" noProof="0"/>
              <a:t>To insert a picture, click on </a:t>
            </a:r>
            <a:br>
              <a:rPr lang="en-GB" noProof="0"/>
            </a:br>
            <a:r>
              <a:rPr lang="en-GB" noProof="0"/>
              <a:t>the icon in the middle.</a:t>
            </a:r>
          </a:p>
          <a:p>
            <a:endParaRPr lang="en-GB" noProof="0"/>
          </a:p>
          <a:p>
            <a:endParaRPr lang="en-GB" noProof="0"/>
          </a:p>
          <a:p>
            <a:endParaRPr lang="en-GB" noProof="0"/>
          </a:p>
        </p:txBody>
      </p:sp>
      <p:sp>
        <p:nvSpPr>
          <p:cNvPr id="8" name="Titel 1"/>
          <p:cNvSpPr>
            <a:spLocks noGrp="1"/>
          </p:cNvSpPr>
          <p:nvPr>
            <p:ph type="title" hasCustomPrompt="1"/>
          </p:nvPr>
        </p:nvSpPr>
        <p:spPr/>
        <p:txBody>
          <a:bodyPr/>
          <a:lstStyle/>
          <a:p>
            <a:r>
              <a:rPr lang="en-GB" noProof="0"/>
              <a:t>Title 20 pt, two lines max. and picture with text</a:t>
            </a:r>
          </a:p>
        </p:txBody>
      </p:sp>
      <p:sp>
        <p:nvSpPr>
          <p:cNvPr id="13" name="Text Placeholder 1"/>
          <p:cNvSpPr>
            <a:spLocks noGrp="1"/>
          </p:cNvSpPr>
          <p:nvPr>
            <p:ph type="body" sz="quarter" idx="14" hasCustomPrompt="1"/>
          </p:nvPr>
        </p:nvSpPr>
        <p:spPr>
          <a:xfrm>
            <a:off x="7128000" y="1440000"/>
            <a:ext cx="4656000" cy="5424000"/>
          </a:xfrm>
          <a:solidFill>
            <a:schemeClr val="bg1"/>
          </a:solidFill>
          <a:effectLst/>
        </p:spPr>
        <p:txBody>
          <a:bodyPr lIns="108000" tIns="216000" rIns="108000" bIns="360000">
            <a:noAutofit/>
          </a:bodyPr>
          <a:lstStyle>
            <a:lvl1pPr>
              <a:defRPr/>
            </a:lvl1pPr>
          </a:lstStyle>
          <a:p>
            <a:pPr lvl="0"/>
            <a:r>
              <a:rPr lang="en-GB" noProof="0"/>
              <a:t>Insert text and format background or text it in white or grey</a:t>
            </a:r>
          </a:p>
          <a:p>
            <a:pPr lvl="1"/>
            <a:r>
              <a:rPr lang="en-GB" noProof="0"/>
              <a:t>Second level</a:t>
            </a:r>
          </a:p>
          <a:p>
            <a:pPr lvl="2"/>
            <a:r>
              <a:rPr lang="en-GB" noProof="0"/>
              <a:t>Third level</a:t>
            </a:r>
          </a:p>
          <a:p>
            <a:pPr lvl="3"/>
            <a:r>
              <a:rPr lang="en-GB" noProof="0"/>
              <a:t>Fourth level</a:t>
            </a:r>
          </a:p>
        </p:txBody>
      </p:sp>
      <p:sp>
        <p:nvSpPr>
          <p:cNvPr id="10" name="Heading Placeholder 1"/>
          <p:cNvSpPr>
            <a:spLocks noGrp="1"/>
          </p:cNvSpPr>
          <p:nvPr>
            <p:ph type="body" sz="quarter" idx="11" hasCustomPrompt="1"/>
          </p:nvPr>
        </p:nvSpPr>
        <p:spPr>
          <a:xfrm>
            <a:off x="408000" y="1440000"/>
            <a:ext cx="6576000" cy="672000"/>
          </a:xfrm>
          <a:noFill/>
        </p:spPr>
        <p:txBody>
          <a:bodyPr wrap="square" lIns="0" tIns="216000" rIns="0" bIns="0" anchor="t">
            <a:noAutofit/>
          </a:bodyPr>
          <a:lstStyle>
            <a:lvl1pPr marL="0" indent="0">
              <a:lnSpc>
                <a:spcPct val="100000"/>
              </a:lnSpc>
              <a:spcBef>
                <a:spcPts val="0"/>
              </a:spcBef>
              <a:spcAft>
                <a:spcPts val="0"/>
              </a:spcAft>
              <a:buFontTx/>
              <a:buNone/>
              <a:defRPr sz="2133" b="0">
                <a:solidFill>
                  <a:schemeClr val="bg1"/>
                </a:solidFill>
              </a:defRPr>
            </a:lvl1pPr>
          </a:lstStyle>
          <a:p>
            <a:pPr lvl="0"/>
            <a:r>
              <a:rPr lang="en-GB" noProof="0"/>
              <a:t>Heading 16 pt, single line</a:t>
            </a:r>
          </a:p>
        </p:txBody>
      </p:sp>
      <p:sp>
        <p:nvSpPr>
          <p:cNvPr id="9" name="Source 1"/>
          <p:cNvSpPr>
            <a:spLocks noGrp="1"/>
          </p:cNvSpPr>
          <p:nvPr>
            <p:ph type="body" sz="quarter" idx="12" hasCustomPrompt="1"/>
          </p:nvPr>
        </p:nvSpPr>
        <p:spPr>
          <a:xfrm>
            <a:off x="3960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noProof="0"/>
              <a:t>Image: Please quote the image / source / name of  photographer</a:t>
            </a:r>
          </a:p>
        </p:txBody>
      </p:sp>
    </p:spTree>
    <p:extLst>
      <p:ext uri="{BB962C8B-B14F-4D97-AF65-F5344CB8AC3E}">
        <p14:creationId xmlns:p14="http://schemas.microsoft.com/office/powerpoint/2010/main" val="2580416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8">
          <p15:clr>
            <a:srgbClr val="A4A3A4"/>
          </p15:clr>
        </p15:guide>
        <p15:guide id="2" orient="horz" pos="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ackground Picture">
    <p:spTree>
      <p:nvGrpSpPr>
        <p:cNvPr id="1" name=""/>
        <p:cNvGrpSpPr/>
        <p:nvPr/>
      </p:nvGrpSpPr>
      <p:grpSpPr>
        <a:xfrm>
          <a:off x="0" y="0"/>
          <a:ext cx="0" cy="0"/>
          <a:chOff x="0" y="0"/>
          <a:chExt cx="0" cy="0"/>
        </a:xfrm>
      </p:grpSpPr>
      <p:sp>
        <p:nvSpPr>
          <p:cNvPr id="3" name="Picture Placeholder 1"/>
          <p:cNvSpPr>
            <a:spLocks noGrp="1"/>
          </p:cNvSpPr>
          <p:nvPr>
            <p:ph type="pic" sz="quarter" idx="19" hasCustomPrompt="1"/>
          </p:nvPr>
        </p:nvSpPr>
        <p:spPr>
          <a:xfrm>
            <a:off x="0" y="0"/>
            <a:ext cx="12192000" cy="6858267"/>
          </a:xfrm>
          <a:solidFill>
            <a:schemeClr val="tx2"/>
          </a:solidFill>
        </p:spPr>
        <p:txBody>
          <a:bodyPr wrap="none" lIns="0" tIns="1440000" rIns="0" bIns="0" anchor="t" anchorCtr="1"/>
          <a:lstStyle>
            <a:lvl1pPr marL="0" marR="0" indent="0" algn="ctr" defTabSz="359991" rtl="0" eaLnBrk="1" fontAlgn="auto" latinLnBrk="0" hangingPunct="1">
              <a:lnSpc>
                <a:spcPct val="110000"/>
              </a:lnSpc>
              <a:spcBef>
                <a:spcPts val="0"/>
              </a:spcBef>
              <a:spcAft>
                <a:spcPts val="800"/>
              </a:spcAft>
              <a:buClrTx/>
              <a:buSzTx/>
              <a:buFont typeface="Wingdings" pitchFamily="2" charset="2"/>
              <a:buNone/>
              <a:tabLst/>
              <a:defRPr>
                <a:solidFill>
                  <a:schemeClr val="bg1"/>
                </a:solidFill>
              </a:defRPr>
            </a:lvl1pPr>
          </a:lstStyle>
          <a:p>
            <a:r>
              <a:rPr lang="en-GB"/>
              <a:t>To insert a picture, click on</a:t>
            </a:r>
            <a:br>
              <a:rPr lang="en-GB"/>
            </a:br>
            <a:r>
              <a:rPr lang="en-GB"/>
              <a:t>the icon in the middle.</a:t>
            </a:r>
          </a:p>
        </p:txBody>
      </p:sp>
      <p:pic>
        <p:nvPicPr>
          <p:cNvPr id="5" name="MR Logo white 1"/>
          <p:cNvPicPr>
            <a:picLocks noChangeAspect="1"/>
          </p:cNvPicPr>
          <p:nvPr/>
        </p:nvPicPr>
        <p:blipFill>
          <a:blip r:embed="rId2"/>
          <a:stretch>
            <a:fillRect/>
          </a:stretch>
        </p:blipFill>
        <p:spPr>
          <a:xfrm>
            <a:off x="10041600" y="408000"/>
            <a:ext cx="1742400" cy="403200"/>
          </a:xfrm>
          <a:prstGeom prst="rect">
            <a:avLst/>
          </a:prstGeom>
        </p:spPr>
      </p:pic>
      <p:sp>
        <p:nvSpPr>
          <p:cNvPr id="20"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322062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0" name="Date Placeholder 1"/>
          <p:cNvSpPr>
            <a:spLocks noGrp="1"/>
          </p:cNvSpPr>
          <p:nvPr>
            <p:ph type="dt" sz="half" idx="10"/>
          </p:nvPr>
        </p:nvSpPr>
        <p:spPr/>
        <p:txBody>
          <a:bodyPr/>
          <a:lstStyle/>
          <a:p>
            <a:r>
              <a:rPr lang="de-DE"/>
              <a:t>3rd-4th September 2024</a:t>
            </a:r>
            <a:endParaRPr lang="en-GB"/>
          </a:p>
        </p:txBody>
      </p:sp>
      <p:sp>
        <p:nvSpPr>
          <p:cNvPr id="12" name="Footer Placeholder 1"/>
          <p:cNvSpPr>
            <a:spLocks noGrp="1"/>
          </p:cNvSpPr>
          <p:nvPr>
            <p:ph type="ftr" sz="quarter" idx="12"/>
          </p:nvPr>
        </p:nvSpPr>
        <p:spPr/>
        <p:txBody>
          <a:bodyPr/>
          <a:lstStyle/>
          <a:p>
            <a:r>
              <a:rPr lang="fr-FR"/>
              <a:t>Digital Solution P&amp;C | Embrace Pet Portfolio </a:t>
            </a:r>
            <a:endParaRPr lang="en-GB"/>
          </a:p>
        </p:txBody>
      </p:sp>
      <p:sp>
        <p:nvSpPr>
          <p:cNvPr id="6" name="Titel 1"/>
          <p:cNvSpPr>
            <a:spLocks noGrp="1"/>
          </p:cNvSpPr>
          <p:nvPr>
            <p:ph type="title" hasCustomPrompt="1"/>
          </p:nvPr>
        </p:nvSpPr>
        <p:spPr/>
        <p:txBody>
          <a:bodyPr/>
          <a:lstStyle/>
          <a:p>
            <a:r>
              <a:rPr lang="en-GB" noProof="0"/>
              <a:t>Title only 20 pt, two lines max. </a:t>
            </a:r>
          </a:p>
        </p:txBody>
      </p:sp>
    </p:spTree>
    <p:extLst>
      <p:ext uri="{BB962C8B-B14F-4D97-AF65-F5344CB8AC3E}">
        <p14:creationId xmlns:p14="http://schemas.microsoft.com/office/powerpoint/2010/main" val="371307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0" name="Date Placeholder 1"/>
          <p:cNvSpPr>
            <a:spLocks noGrp="1"/>
          </p:cNvSpPr>
          <p:nvPr>
            <p:ph type="dt" sz="half" idx="10"/>
          </p:nvPr>
        </p:nvSpPr>
        <p:spPr/>
        <p:txBody>
          <a:bodyPr/>
          <a:lstStyle/>
          <a:p>
            <a:r>
              <a:rPr lang="de-DE"/>
              <a:t>3rd-4th September 2024</a:t>
            </a:r>
            <a:endParaRPr lang="en-GB"/>
          </a:p>
        </p:txBody>
      </p:sp>
      <p:sp>
        <p:nvSpPr>
          <p:cNvPr id="12" name="Footer Placeholder 1"/>
          <p:cNvSpPr>
            <a:spLocks noGrp="1"/>
          </p:cNvSpPr>
          <p:nvPr>
            <p:ph type="ftr" sz="quarter" idx="12"/>
          </p:nvPr>
        </p:nvSpPr>
        <p:spPr/>
        <p:txBody>
          <a:bodyPr/>
          <a:lstStyle/>
          <a:p>
            <a:r>
              <a:rPr lang="fr-FR"/>
              <a:t>Digital Solution P&amp;C | Embrace Pet Portfolio </a:t>
            </a:r>
            <a:endParaRPr lang="en-GB"/>
          </a:p>
        </p:txBody>
      </p:sp>
    </p:spTree>
    <p:extLst>
      <p:ext uri="{BB962C8B-B14F-4D97-AF65-F5344CB8AC3E}">
        <p14:creationId xmlns:p14="http://schemas.microsoft.com/office/powerpoint/2010/main" val="377135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nd media clip">
    <p:bg>
      <p:bgRef idx="1001">
        <a:schemeClr val="bg1"/>
      </p:bgRef>
    </p:bg>
    <p:spTree>
      <p:nvGrpSpPr>
        <p:cNvPr id="1" name=""/>
        <p:cNvGrpSpPr/>
        <p:nvPr/>
      </p:nvGrpSpPr>
      <p:grpSpPr>
        <a:xfrm>
          <a:off x="0" y="0"/>
          <a:ext cx="0" cy="0"/>
          <a:chOff x="0" y="0"/>
          <a:chExt cx="0" cy="0"/>
        </a:xfrm>
      </p:grpSpPr>
      <p:sp>
        <p:nvSpPr>
          <p:cNvPr id="9" name="Media Placeholder 1"/>
          <p:cNvSpPr>
            <a:spLocks noGrp="1"/>
          </p:cNvSpPr>
          <p:nvPr>
            <p:ph type="media" sz="quarter" idx="13" hasCustomPrompt="1"/>
          </p:nvPr>
        </p:nvSpPr>
        <p:spPr>
          <a:xfrm>
            <a:off x="0" y="0"/>
            <a:ext cx="12192000" cy="6858267"/>
          </a:xfrm>
          <a:solidFill>
            <a:schemeClr val="tx2"/>
          </a:solidFill>
        </p:spPr>
        <p:txBody>
          <a:bodyPr tIns="1620000" anchor="t" anchorCtr="1">
            <a:noAutofit/>
          </a:bodyPr>
          <a:lstStyle>
            <a:lvl1pPr>
              <a:buFontTx/>
              <a:buNone/>
              <a:defRPr sz="1867">
                <a:solidFill>
                  <a:schemeClr val="bg1"/>
                </a:solidFill>
              </a:defRPr>
            </a:lvl1pPr>
          </a:lstStyle>
          <a:p>
            <a:r>
              <a:rPr lang="en-GB" noProof="0"/>
              <a:t>To insert a video, click on the icon in the middle.</a:t>
            </a:r>
          </a:p>
        </p:txBody>
      </p:sp>
    </p:spTree>
    <p:extLst>
      <p:ext uri="{BB962C8B-B14F-4D97-AF65-F5344CB8AC3E}">
        <p14:creationId xmlns:p14="http://schemas.microsoft.com/office/powerpoint/2010/main" val="1527732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mprint Munich">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r>
              <a:rPr lang="de-DE"/>
              <a:t>3rd-4th September 2024</a:t>
            </a:r>
            <a:endParaRPr lang="en-GB"/>
          </a:p>
        </p:txBody>
      </p:sp>
      <p:sp>
        <p:nvSpPr>
          <p:cNvPr id="11"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2" name="Footer Placeholder 1"/>
          <p:cNvSpPr>
            <a:spLocks noGrp="1"/>
          </p:cNvSpPr>
          <p:nvPr>
            <p:ph type="ftr" sz="quarter" idx="12"/>
          </p:nvPr>
        </p:nvSpPr>
        <p:spPr/>
        <p:txBody>
          <a:bodyPr/>
          <a:lstStyle/>
          <a:p>
            <a:r>
              <a:rPr lang="fr-FR"/>
              <a:t>Digital Solution P&amp;C | Embrace Pet Portfolio </a:t>
            </a:r>
            <a:endParaRPr lang="en-GB"/>
          </a:p>
        </p:txBody>
      </p:sp>
      <p:sp>
        <p:nvSpPr>
          <p:cNvPr id="13" name="Text Box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GB" sz="2667" kern="1200" noProof="0">
                <a:solidFill>
                  <a:schemeClr val="tx2"/>
                </a:solidFill>
              </a:rPr>
              <a:t>Imprint</a:t>
            </a:r>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66FF"/>
                </a:solidFill>
              </a:defRPr>
            </a:lvl1pPr>
          </a:lstStyle>
          <a:p>
            <a:pPr lvl="0"/>
            <a:r>
              <a:rPr lang="en-GB"/>
              <a:t>Insert risk carrier name (PI specialty, non-insurance related business only)</a:t>
            </a:r>
          </a:p>
        </p:txBody>
      </p:sp>
      <p:sp>
        <p:nvSpPr>
          <p:cNvPr id="8" name="Text Box 3"/>
          <p:cNvSpPr txBox="1">
            <a:spLocks/>
          </p:cNvSpPr>
          <p:nvPr/>
        </p:nvSpPr>
        <p:spPr>
          <a:xfrm>
            <a:off x="408000" y="2016000"/>
            <a:ext cx="11376000" cy="1728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en-GB" sz="1867" b="0" i="0" u="none" strike="noStrike" kern="1200" cap="none" spc="0" normalizeH="0" baseline="0" noProof="0">
                <a:ln>
                  <a:noFill/>
                </a:ln>
                <a:solidFill>
                  <a:schemeClr val="tx2"/>
                </a:solidFill>
                <a:effectLst/>
                <a:uLnTx/>
                <a:uFillTx/>
              </a:rPr>
              <a:t>Münchener Rückversicherungs-Gesellschaft</a:t>
            </a:r>
            <a:br>
              <a:rPr kumimoji="0" lang="en-GB" sz="1867" b="0" i="0" u="none" strike="noStrike" kern="1200" cap="none" spc="0" normalizeH="0" baseline="0" noProof="0">
                <a:ln>
                  <a:noFill/>
                </a:ln>
                <a:solidFill>
                  <a:schemeClr val="tx2"/>
                </a:solidFill>
                <a:effectLst/>
                <a:uLnTx/>
                <a:uFillTx/>
              </a:rPr>
            </a:br>
            <a:r>
              <a:rPr kumimoji="0" lang="en-GB" sz="1867" b="0" i="0" u="none" strike="noStrike" kern="1200" cap="none" spc="0" normalizeH="0" baseline="0" noProof="0">
                <a:ln>
                  <a:noFill/>
                </a:ln>
                <a:solidFill>
                  <a:schemeClr val="tx2"/>
                </a:solidFill>
                <a:effectLst/>
                <a:uLnTx/>
                <a:uFillTx/>
              </a:rPr>
              <a:t>Aktiengesellschaft in München</a:t>
            </a:r>
            <a:br>
              <a:rPr kumimoji="0" lang="en-GB" sz="1867" b="0" i="0" u="none" strike="noStrike" kern="1200" cap="none" spc="0" normalizeH="0" baseline="0" noProof="0">
                <a:ln>
                  <a:noFill/>
                </a:ln>
                <a:solidFill>
                  <a:schemeClr val="tx2"/>
                </a:solidFill>
                <a:effectLst/>
                <a:uLnTx/>
                <a:uFillTx/>
              </a:rPr>
            </a:br>
            <a:r>
              <a:rPr kumimoji="0" lang="en-GB" sz="1867" b="0" i="0" u="none" strike="noStrike" kern="1200" cap="none" spc="0" normalizeH="0" baseline="0" noProof="0">
                <a:ln>
                  <a:noFill/>
                </a:ln>
                <a:solidFill>
                  <a:schemeClr val="tx2"/>
                </a:solidFill>
                <a:effectLst/>
                <a:uLnTx/>
                <a:uFillTx/>
              </a:rPr>
              <a:t>Königinstr. 107</a:t>
            </a:r>
            <a:br>
              <a:rPr kumimoji="0" lang="en-GB" sz="1867" b="0" i="0" u="none" strike="noStrike" kern="1200" cap="none" spc="0" normalizeH="0" baseline="0" noProof="0">
                <a:ln>
                  <a:noFill/>
                </a:ln>
                <a:solidFill>
                  <a:schemeClr val="tx2"/>
                </a:solidFill>
                <a:effectLst/>
                <a:uLnTx/>
                <a:uFillTx/>
              </a:rPr>
            </a:br>
            <a:r>
              <a:rPr kumimoji="0" lang="en-GB" sz="1867" b="0" i="0" u="none" strike="noStrike" kern="1200" cap="none" spc="0" normalizeH="0" baseline="0" noProof="0">
                <a:ln>
                  <a:noFill/>
                </a:ln>
                <a:solidFill>
                  <a:schemeClr val="tx2"/>
                </a:solidFill>
                <a:effectLst/>
                <a:uLnTx/>
                <a:uFillTx/>
              </a:rPr>
              <a:t>80802 München</a:t>
            </a:r>
            <a:br>
              <a:rPr kumimoji="0" lang="en-GB" sz="1867" b="0" i="0" u="none" strike="noStrike" kern="1200" cap="none" spc="0" normalizeH="0" baseline="0" noProof="0">
                <a:ln>
                  <a:noFill/>
                </a:ln>
                <a:solidFill>
                  <a:schemeClr val="tx2"/>
                </a:solidFill>
                <a:effectLst/>
                <a:uLnTx/>
                <a:uFillTx/>
              </a:rPr>
            </a:br>
            <a:r>
              <a:rPr kumimoji="0" lang="en-GB" sz="1867" b="0" i="0" u="none" strike="noStrike" kern="1200" cap="none" spc="0" normalizeH="0" baseline="0" noProof="0">
                <a:ln>
                  <a:noFill/>
                </a:ln>
                <a:solidFill>
                  <a:schemeClr val="tx2"/>
                </a:solidFill>
                <a:effectLst/>
                <a:uLnTx/>
                <a:uFillTx/>
              </a:rPr>
              <a:t>Germany</a:t>
            </a:r>
          </a:p>
        </p:txBody>
      </p:sp>
      <p:grpSp>
        <p:nvGrpSpPr>
          <p:cNvPr id="19" name="Group 1"/>
          <p:cNvGrpSpPr/>
          <p:nvPr/>
        </p:nvGrpSpPr>
        <p:grpSpPr>
          <a:xfrm>
            <a:off x="408051" y="4022135"/>
            <a:ext cx="11376096" cy="642644"/>
            <a:chOff x="338038" y="2862000"/>
            <a:chExt cx="8501072"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GB"/>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GB" altLang="zh-CN" sz="1867" i="0" spc="0" baseline="0">
                  <a:solidFill>
                    <a:schemeClr val="tx2"/>
                  </a:solidFill>
                </a:rPr>
                <a:t>© 2019/12/11</a:t>
              </a:r>
              <a:endParaRPr kumimoji="0" lang="en-GB" sz="1867" b="0" i="0" u="none" strike="noStrike" kern="1200" cap="none" spc="0" normalizeH="0" baseline="0" noProof="0">
                <a:ln>
                  <a:noFill/>
                </a:ln>
                <a:solidFill>
                  <a:schemeClr val="tx2"/>
                </a:solidFill>
                <a:effectLst/>
                <a:uLnTx/>
                <a:uFillTx/>
              </a:endParaRPr>
            </a:p>
            <a:p>
              <a:pPr algn="l">
                <a:spcBef>
                  <a:spcPts val="533"/>
                </a:spcBef>
              </a:pPr>
              <a:r>
                <a:rPr lang="en-GB" altLang="zh-CN" sz="1867" i="0" spc="0" baseline="0">
                  <a:solidFill>
                    <a:schemeClr val="tx2"/>
                  </a:solidFill>
                </a:rPr>
                <a:t>© 2019/12/11</a:t>
              </a:r>
              <a:endParaRPr lang="en-GB" sz="1867" spc="0" baseline="0">
                <a:solidFill>
                  <a:schemeClr val="tx2"/>
                </a:solidFill>
              </a:endParaRPr>
            </a:p>
          </p:txBody>
        </p:sp>
        <p:sp>
          <p:nvSpPr>
            <p:cNvPr id="21" name="Text Box 4"/>
            <p:cNvSpPr txBox="1"/>
            <p:nvPr/>
          </p:nvSpPr>
          <p:spPr>
            <a:xfrm>
              <a:off x="911017" y="2862002"/>
              <a:ext cx="7928093" cy="479273"/>
            </a:xfrm>
            <a:prstGeom prst="rect">
              <a:avLst/>
            </a:prstGeom>
            <a:solidFill>
              <a:schemeClr val="bg1"/>
            </a:solidFill>
            <a:effectLst/>
          </p:spPr>
          <p:txBody>
            <a:bodyPr wrap="square" lIns="0" tIns="0" rIns="0" bIns="0" rtlCol="0">
              <a:spAutoFit/>
            </a:bodyPr>
            <a:lstStyle/>
            <a:p>
              <a:pPr algn="l">
                <a:spcBef>
                  <a:spcPts val="533"/>
                </a:spcBef>
              </a:pPr>
              <a:r>
                <a:rPr kumimoji="0" lang="en-GB" sz="1867" b="0" i="0" u="none" strike="noStrike" kern="1200" cap="none" spc="0" normalizeH="0" baseline="0" noProof="0">
                  <a:ln>
                    <a:noFill/>
                  </a:ln>
                  <a:solidFill>
                    <a:schemeClr val="tx2"/>
                  </a:solidFill>
                  <a:effectLst/>
                  <a:uLnTx/>
                  <a:uFillTx/>
                </a:rPr>
                <a:t> 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GB"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275448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0">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print">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r>
              <a:rPr lang="de-DE"/>
              <a:t>3rd-4th September 2024</a:t>
            </a:r>
            <a:endParaRPr lang="en-GB"/>
          </a:p>
        </p:txBody>
      </p:sp>
      <p:sp>
        <p:nvSpPr>
          <p:cNvPr id="11" name="Slide Number Placeholder 1"/>
          <p:cNvSpPr>
            <a:spLocks noGrp="1"/>
          </p:cNvSpPr>
          <p:nvPr>
            <p:ph type="sldNum" sz="quarter" idx="11"/>
          </p:nvPr>
        </p:nvSpPr>
        <p:spPr/>
        <p:txBody>
          <a:bodyPr/>
          <a:lstStyle/>
          <a:p>
            <a:fld id="{D56DB8AA-803C-49D2-90AA-1140CE72DCD7}" type="slidenum">
              <a:rPr lang="en-GB" smtClean="0"/>
              <a:pPr/>
              <a:t>‹#›</a:t>
            </a:fld>
            <a:endParaRPr lang="en-GB"/>
          </a:p>
        </p:txBody>
      </p:sp>
      <p:sp>
        <p:nvSpPr>
          <p:cNvPr id="12" name="Footer Placeholder 1"/>
          <p:cNvSpPr>
            <a:spLocks noGrp="1"/>
          </p:cNvSpPr>
          <p:nvPr>
            <p:ph type="ftr" sz="quarter" idx="12"/>
          </p:nvPr>
        </p:nvSpPr>
        <p:spPr/>
        <p:txBody>
          <a:bodyPr/>
          <a:lstStyle/>
          <a:p>
            <a:r>
              <a:rPr lang="fr-FR"/>
              <a:t>Digital Solution P&amp;C | Embrace Pet Portfolio </a:t>
            </a:r>
            <a:endParaRPr lang="en-GB"/>
          </a:p>
        </p:txBody>
      </p:sp>
      <p:sp>
        <p:nvSpPr>
          <p:cNvPr id="13" name="Text Box Title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GB" sz="2667" kern="1200" noProof="0">
                <a:solidFill>
                  <a:schemeClr val="tx2"/>
                </a:solidFill>
              </a:rPr>
              <a:t>Imprint</a:t>
            </a:r>
          </a:p>
        </p:txBody>
      </p:sp>
      <p:sp>
        <p:nvSpPr>
          <p:cNvPr id="8" name="Text Placeholder 2"/>
          <p:cNvSpPr>
            <a:spLocks noGrp="1"/>
          </p:cNvSpPr>
          <p:nvPr>
            <p:ph type="body" sz="quarter" idx="14" hasCustomPrompt="1"/>
          </p:nvPr>
        </p:nvSpPr>
        <p:spPr>
          <a:xfrm>
            <a:off x="408000" y="2016000"/>
            <a:ext cx="11376000" cy="1728000"/>
          </a:xfrm>
        </p:spPr>
        <p:txBody>
          <a:bodyPr/>
          <a:lstStyle>
            <a:lvl1pPr marL="0" indent="0">
              <a:lnSpc>
                <a:spcPct val="100000"/>
              </a:lnSpc>
              <a:spcBef>
                <a:spcPts val="0"/>
              </a:spcBef>
              <a:spcAft>
                <a:spcPts val="0"/>
              </a:spcAft>
              <a:buClrTx/>
              <a:buSzTx/>
              <a:buFontTx/>
              <a:buNone/>
              <a:tabLst/>
              <a:defRPr/>
            </a:lvl1pPr>
          </a:lstStyle>
          <a:p>
            <a:pPr lvl="0"/>
            <a:r>
              <a:rPr lang="en-GB" noProof="0"/>
              <a:t>Please add here your Legal Entity</a:t>
            </a:r>
          </a:p>
          <a:p>
            <a:endParaRPr lang="en-GB"/>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66FF"/>
                </a:solidFill>
              </a:defRPr>
            </a:lvl1pPr>
          </a:lstStyle>
          <a:p>
            <a:pPr lvl="0"/>
            <a:r>
              <a:rPr lang="en-GB"/>
              <a:t>Insert risk carrier name (PI specialty, non-insurance related business only)</a:t>
            </a:r>
          </a:p>
        </p:txBody>
      </p:sp>
      <p:grpSp>
        <p:nvGrpSpPr>
          <p:cNvPr id="19" name="Group 1"/>
          <p:cNvGrpSpPr/>
          <p:nvPr/>
        </p:nvGrpSpPr>
        <p:grpSpPr>
          <a:xfrm>
            <a:off x="408051" y="4022135"/>
            <a:ext cx="11784100" cy="642644"/>
            <a:chOff x="338038" y="2862000"/>
            <a:chExt cx="8805963"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GB"/>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GB" altLang="zh-CN" sz="1867" i="0" spc="0" baseline="0">
                  <a:solidFill>
                    <a:schemeClr val="tx2"/>
                  </a:solidFill>
                </a:rPr>
                <a:t>© 2019/12/11</a:t>
              </a:r>
              <a:endParaRPr kumimoji="0" lang="en-GB" sz="1867" b="0" i="0" u="none" strike="noStrike" kern="1200" cap="none" spc="0" normalizeH="0" baseline="0" noProof="0">
                <a:ln>
                  <a:noFill/>
                </a:ln>
                <a:solidFill>
                  <a:schemeClr val="tx2"/>
                </a:solidFill>
                <a:effectLst/>
                <a:uLnTx/>
                <a:uFillTx/>
              </a:endParaRPr>
            </a:p>
            <a:p>
              <a:pPr algn="l">
                <a:spcBef>
                  <a:spcPts val="533"/>
                </a:spcBef>
              </a:pPr>
              <a:r>
                <a:rPr lang="en-GB" altLang="zh-CN" sz="1867" i="0" spc="0" baseline="0">
                  <a:solidFill>
                    <a:schemeClr val="tx2"/>
                  </a:solidFill>
                </a:rPr>
                <a:t>© 2019/12/11</a:t>
              </a:r>
              <a:endParaRPr lang="en-GB" sz="1867" spc="0" baseline="0">
                <a:solidFill>
                  <a:schemeClr val="tx2"/>
                </a:solidFill>
              </a:endParaRPr>
            </a:p>
          </p:txBody>
        </p:sp>
        <p:sp>
          <p:nvSpPr>
            <p:cNvPr id="21" name="Text Box 2"/>
            <p:cNvSpPr txBox="1"/>
            <p:nvPr/>
          </p:nvSpPr>
          <p:spPr>
            <a:xfrm>
              <a:off x="911017" y="2862002"/>
              <a:ext cx="8232984" cy="479273"/>
            </a:xfrm>
            <a:prstGeom prst="rect">
              <a:avLst/>
            </a:prstGeom>
            <a:solidFill>
              <a:schemeClr val="bg1"/>
            </a:solidFill>
            <a:effectLst/>
          </p:spPr>
          <p:txBody>
            <a:bodyPr wrap="square" lIns="0" tIns="0" rIns="0" bIns="0" rtlCol="0">
              <a:spAutoFit/>
            </a:bodyPr>
            <a:lstStyle/>
            <a:p>
              <a:pPr algn="l">
                <a:spcBef>
                  <a:spcPts val="533"/>
                </a:spcBef>
              </a:pPr>
              <a:r>
                <a:rPr kumimoji="0" lang="en-GB" sz="1867" b="0" i="0" u="none" strike="noStrike" kern="1200" cap="none" spc="0" normalizeH="0" baseline="0" noProof="0">
                  <a:ln>
                    <a:noFill/>
                  </a:ln>
                  <a:solidFill>
                    <a:schemeClr val="tx2"/>
                  </a:solidFill>
                  <a:effectLst/>
                  <a:uLnTx/>
                  <a:uFillTx/>
                </a:rPr>
                <a:t> 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GB"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299555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50">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7" name="Date Placeholder 1"/>
          <p:cNvSpPr>
            <a:spLocks noGrp="1"/>
          </p:cNvSpPr>
          <p:nvPr>
            <p:ph type="dt" sz="half" idx="10"/>
          </p:nvPr>
        </p:nvSpPr>
        <p:spPr/>
        <p:txBody>
          <a:bodyPr/>
          <a:lstStyle/>
          <a:p>
            <a:fld id="{2BE5A330-5406-498F-9FFD-DB2335383590}" type="datetime1">
              <a:rPr lang="de-DE" noProof="0" smtClean="0"/>
              <a:t>11.09.2024</a:t>
            </a:fld>
            <a:endParaRPr lang="de-DE" noProof="0"/>
          </a:p>
        </p:txBody>
      </p:sp>
      <p:sp>
        <p:nvSpPr>
          <p:cNvPr id="9" name="Footer Placeholder 1"/>
          <p:cNvSpPr>
            <a:spLocks noGrp="1"/>
          </p:cNvSpPr>
          <p:nvPr>
            <p:ph type="ftr" sz="quarter" idx="12"/>
          </p:nvPr>
        </p:nvSpPr>
        <p:spPr/>
        <p:txBody>
          <a:bodyPr/>
          <a:lstStyle/>
          <a:p>
            <a:r>
              <a:rPr lang="de-DE" noProof="0"/>
              <a:t>Fußzeile bearbeiten: Einfügen &gt; Kopf- und Fußzeile (Titel der Präsentation und Name des Redners)</a:t>
            </a:r>
          </a:p>
        </p:txBody>
      </p:sp>
      <p:sp>
        <p:nvSpPr>
          <p:cNvPr id="2" name="Title 1"/>
          <p:cNvSpPr>
            <a:spLocks noGrp="1"/>
          </p:cNvSpPr>
          <p:nvPr>
            <p:ph type="title" hasCustomPrompt="1"/>
          </p:nvPr>
        </p:nvSpPr>
        <p:spPr/>
        <p:txBody>
          <a:bodyPr/>
          <a:lstStyle>
            <a:lvl1pPr>
              <a:defRPr baseline="0"/>
            </a:lvl1pPr>
          </a:lstStyle>
          <a:p>
            <a:r>
              <a:rPr lang="de-DE"/>
              <a:t>Titel 20 pt, max. zweizeilig für Agenda</a:t>
            </a:r>
            <a:endParaRPr lang="de-DE" noProof="0"/>
          </a:p>
        </p:txBody>
      </p:sp>
      <p:sp>
        <p:nvSpPr>
          <p:cNvPr id="3" name="Content Placeholder 1"/>
          <p:cNvSpPr>
            <a:spLocks noGrp="1"/>
          </p:cNvSpPr>
          <p:nvPr>
            <p:ph idx="1" hasCustomPrompt="1"/>
          </p:nvPr>
        </p:nvSpPr>
        <p:spPr/>
        <p:txBody>
          <a:bodyPr/>
          <a:lstStyle>
            <a:lvl1pPr marL="599985" indent="-599985">
              <a:spcAft>
                <a:spcPts val="1200"/>
              </a:spcAft>
              <a:buClr>
                <a:schemeClr val="accent1"/>
              </a:buClr>
              <a:buSzPct val="145000"/>
              <a:buAutoNum type="arabicPeriod"/>
              <a:defRPr/>
            </a:lvl1pPr>
            <a:lvl2pPr marL="959976">
              <a:defRPr/>
            </a:lvl2pPr>
            <a:lvl3pPr marL="1247969">
              <a:defRPr/>
            </a:lvl3pPr>
            <a:lvl4pPr marL="1535962">
              <a:defRPr/>
            </a:lvl4pPr>
            <a:lvl5pPr marL="1823954">
              <a:defRPr/>
            </a:lvl5pPr>
            <a:lvl6pPr marL="2111947">
              <a:defRPr/>
            </a:lvl6pPr>
            <a:lvl7pPr marL="2399940">
              <a:defRPr/>
            </a:lvl7pPr>
            <a:lvl8pPr marL="2687933">
              <a:defRPr baseline="0"/>
            </a:lvl8pPr>
            <a:lvl9pPr marL="2975926">
              <a:defRPr baseline="0"/>
            </a:lvl9pPr>
          </a:lstStyle>
          <a:p>
            <a:pPr lvl="0"/>
            <a:r>
              <a:rPr lang="de-DE"/>
              <a:t>Um die Hierarchie der Unterpunkte anzupassen, verwenden Sie Start &gt; Absatz &gt; Listenebene verringern/erhöhen. Alternativ Tabelle, Diagramm, SmartArt Grafik, Bild oder Onlinegrafik ein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244203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Title slide 1">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20E5BCE-C5F1-BB3E-47A9-65418F5B11B0}"/>
              </a:ext>
            </a:extLst>
          </p:cNvPr>
          <p:cNvGraphicFramePr>
            <a:graphicFrameLocks noChangeAspect="1"/>
          </p:cNvGraphicFramePr>
          <p:nvPr userDrawn="1">
            <p:custDataLst>
              <p:tags r:id="rId1"/>
            </p:custDataLst>
            <p:extLst>
              <p:ext uri="{D42A27DB-BD31-4B8C-83A1-F6EECF244321}">
                <p14:modId xmlns:p14="http://schemas.microsoft.com/office/powerpoint/2010/main" val="67660102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think-cell data - do not delete" hidden="1">
                        <a:extLst>
                          <a:ext uri="{FF2B5EF4-FFF2-40B4-BE49-F238E27FC236}">
                            <a16:creationId xmlns:a16="http://schemas.microsoft.com/office/drawing/2014/main" id="{120E5BCE-C5F1-BB3E-47A9-65418F5B11B0}"/>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Picture Placeholder 1"/>
          <p:cNvSpPr>
            <a:spLocks noGrp="1"/>
          </p:cNvSpPr>
          <p:nvPr>
            <p:ph type="pic" sz="quarter" idx="13" hasCustomPrompt="1"/>
          </p:nvPr>
        </p:nvSpPr>
        <p:spPr>
          <a:xfrm>
            <a:off x="0" y="0"/>
            <a:ext cx="12192000" cy="6858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GB"/>
              <a:t>To insert a picture, click on the icon in the middle.</a:t>
            </a:r>
            <a:br>
              <a:rPr lang="en-GB"/>
            </a:br>
            <a:r>
              <a:rPr lang="en-GB"/>
              <a:t>Don’t move the Logo! Please use &gt;Home &gt;Reset </a:t>
            </a:r>
          </a:p>
        </p:txBody>
      </p:sp>
      <p:sp>
        <p:nvSpPr>
          <p:cNvPr id="2" name="Title 1"/>
          <p:cNvSpPr>
            <a:spLocks noGrp="1"/>
          </p:cNvSpPr>
          <p:nvPr>
            <p:ph type="ctrTitle" hasCustomPrompt="1"/>
          </p:nvPr>
        </p:nvSpPr>
        <p:spPr>
          <a:xfrm>
            <a:off x="0" y="3408000"/>
            <a:ext cx="12192000" cy="3456000"/>
          </a:xfrm>
          <a:gradFill>
            <a:gsLst>
              <a:gs pos="0">
                <a:schemeClr val="tx1">
                  <a:alpha val="75000"/>
                </a:schemeClr>
              </a:gs>
              <a:gs pos="50000">
                <a:schemeClr val="tx1">
                  <a:alpha val="45000"/>
                </a:schemeClr>
              </a:gs>
              <a:gs pos="25000">
                <a:schemeClr val="tx1">
                  <a:alpha val="58000"/>
                </a:schemeClr>
              </a:gs>
              <a:gs pos="85000">
                <a:schemeClr val="tx1">
                  <a:alpha val="0"/>
                </a:schemeClr>
              </a:gs>
            </a:gsLst>
            <a:lin ang="16200000" scaled="1"/>
          </a:gradFill>
        </p:spPr>
        <p:txBody>
          <a:bodyPr vert="horz" lIns="252000" tIns="1080000" rIns="2412000" bIns="2232000" rtlCol="0" anchor="t" anchorCtr="0">
            <a:noAutofit/>
          </a:bodyPr>
          <a:lstStyle>
            <a:lvl1pPr rtl="0">
              <a:lnSpc>
                <a:spcPct val="100000"/>
              </a:lnSpc>
              <a:defRPr sz="32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GB"/>
              <a:t>Title 24 pt,</a:t>
            </a:r>
            <a:br>
              <a:rPr lang="en-GB"/>
            </a:br>
            <a:r>
              <a:rPr lang="en-GB"/>
              <a:t>two lines max.</a:t>
            </a:r>
          </a:p>
        </p:txBody>
      </p:sp>
      <p:sp>
        <p:nvSpPr>
          <p:cNvPr id="3" name="Subtitle 1"/>
          <p:cNvSpPr>
            <a:spLocks noGrp="1"/>
          </p:cNvSpPr>
          <p:nvPr>
            <p:ph type="subTitle" idx="1" hasCustomPrompt="1"/>
          </p:nvPr>
        </p:nvSpPr>
        <p:spPr>
          <a:xfrm>
            <a:off x="336000" y="5712000"/>
            <a:ext cx="5760000" cy="576000"/>
          </a:xfrm>
        </p:spPr>
        <p:txBody>
          <a:bodyPr anchor="t" anchorCtr="0">
            <a:noAutofit/>
          </a:bodyPr>
          <a:lstStyle>
            <a:lvl1pPr marL="0" marR="0" indent="0" algn="l" defTabSz="914377" rtl="0" eaLnBrk="1" fontAlgn="auto" latinLnBrk="0" hangingPunct="1">
              <a:lnSpc>
                <a:spcPct val="100000"/>
              </a:lnSpc>
              <a:spcBef>
                <a:spcPts val="0"/>
              </a:spcBef>
              <a:spcAft>
                <a:spcPts val="400"/>
              </a:spcAft>
              <a:buClrTx/>
              <a:buSzTx/>
              <a:buFont typeface="Wingdings" pitchFamily="2" charset="2"/>
              <a:buNone/>
              <a:tabLst/>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GB"/>
              <a:t>Date: DD/MM/YYYY</a:t>
            </a:r>
          </a:p>
          <a:p>
            <a:r>
              <a:rPr lang="en-GB"/>
              <a:t>Name of speaker</a:t>
            </a:r>
          </a:p>
        </p:txBody>
      </p:sp>
      <p:sp>
        <p:nvSpPr>
          <p:cNvPr id="7" name="Source 1"/>
          <p:cNvSpPr>
            <a:spLocks noGrp="1"/>
          </p:cNvSpPr>
          <p:nvPr>
            <p:ph type="body" sz="quarter" idx="12" hasCustomPrompt="1"/>
          </p:nvPr>
        </p:nvSpPr>
        <p:spPr>
          <a:xfrm>
            <a:off x="0" y="0"/>
            <a:ext cx="3168000" cy="288000"/>
          </a:xfrm>
        </p:spPr>
        <p:txBody>
          <a:bodyPr wrap="none" lIns="108000" tIns="72000" rIns="0" bIns="72000" anchor="ctr"/>
          <a:lstStyle>
            <a:lvl1pPr marL="0" indent="0" algn="l" rtl="0">
              <a:lnSpc>
                <a:spcPct val="100000"/>
              </a:lnSpc>
              <a:spcBef>
                <a:spcPts val="0"/>
              </a:spcBef>
              <a:spcAft>
                <a:spcPts val="0"/>
              </a:spcAft>
              <a:buFontTx/>
              <a:buNone/>
              <a:defRPr sz="8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GB"/>
              <a:t>Image: Please quote the image / source / name of  photographer</a:t>
            </a:r>
          </a:p>
        </p:txBody>
      </p:sp>
      <p:sp>
        <p:nvSpPr>
          <p:cNvPr id="10" name="Text Placeholder  with Logo 2">
            <a:extLst>
              <a:ext uri="{FF2B5EF4-FFF2-40B4-BE49-F238E27FC236}">
                <a16:creationId xmlns:a16="http://schemas.microsoft.com/office/drawing/2014/main" id="{C3D18020-2119-D248-A7CE-18ACC8307F0F}"/>
              </a:ext>
            </a:extLst>
          </p:cNvPr>
          <p:cNvSpPr>
            <a:spLocks noGrp="1" noRot="1" noChangeAspect="1" noMove="1" noResize="1" noEditPoints="1" noAdjustHandles="1" noChangeArrowheads="1" noChangeShapeType="1"/>
          </p:cNvSpPr>
          <p:nvPr>
            <p:ph type="body" sz="quarter" idx="14" hasCustomPrompt="1"/>
          </p:nvPr>
        </p:nvSpPr>
        <p:spPr>
          <a:xfrm>
            <a:off x="9412800" y="5817600"/>
            <a:ext cx="2016000" cy="465600"/>
          </a:xfrm>
          <a:blipFill>
            <a:blip r:embed="rId5"/>
            <a:stretch>
              <a:fillRect/>
            </a:stretch>
          </a:blipFill>
        </p:spPr>
        <p:txBody>
          <a:bodyPr/>
          <a:lstStyle>
            <a:lvl1pPr marL="0" indent="0" rtl="0">
              <a:buNone/>
              <a:defRPr>
                <a:latin typeface="Arial" panose="020B0604020202020204" pitchFamily="34" charset="0"/>
                <a:cs typeface="Arial" panose="020B0604020202020204" pitchFamily="34" charset="0"/>
                <a:sym typeface="Arial" panose="020B0604020202020204" pitchFamily="34" charset="0"/>
              </a:defRPr>
            </a:lvl1pPr>
          </a:lstStyle>
          <a:p>
            <a:pPr lvl="0"/>
            <a:r>
              <a:rPr lang="en-GB"/>
              <a:t> </a:t>
            </a:r>
          </a:p>
        </p:txBody>
      </p:sp>
    </p:spTree>
    <p:extLst>
      <p:ext uri="{BB962C8B-B14F-4D97-AF65-F5344CB8AC3E}">
        <p14:creationId xmlns:p14="http://schemas.microsoft.com/office/powerpoint/2010/main" val="2847873694"/>
      </p:ext>
    </p:extLst>
  </p:cSld>
  <p:clrMapOvr>
    <a:masterClrMapping/>
  </p:clrMapOvr>
  <p:transition spd="slow">
    <p:fade thruBlk="1"/>
  </p:transition>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paration slide 3">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2D37D37-E796-372B-D15B-EF587E87D397}"/>
              </a:ext>
            </a:extLst>
          </p:cNvPr>
          <p:cNvGraphicFramePr>
            <a:graphicFrameLocks noChangeAspect="1"/>
          </p:cNvGraphicFramePr>
          <p:nvPr userDrawn="1">
            <p:custDataLst>
              <p:tags r:id="rId1"/>
            </p:custDataLst>
            <p:extLst>
              <p:ext uri="{D42A27DB-BD31-4B8C-83A1-F6EECF244321}">
                <p14:modId xmlns:p14="http://schemas.microsoft.com/office/powerpoint/2010/main" val="217731323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think-cell data - do not delete" hidden="1">
                        <a:extLst>
                          <a:ext uri="{FF2B5EF4-FFF2-40B4-BE49-F238E27FC236}">
                            <a16:creationId xmlns:a16="http://schemas.microsoft.com/office/drawing/2014/main" id="{42D37D37-E796-372B-D15B-EF587E87D397}"/>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Picture Placeholder 1"/>
          <p:cNvSpPr>
            <a:spLocks noGrp="1"/>
          </p:cNvSpPr>
          <p:nvPr>
            <p:ph type="pic" sz="quarter" idx="13" hasCustomPrompt="1"/>
          </p:nvPr>
        </p:nvSpPr>
        <p:spPr>
          <a:xfrm>
            <a:off x="3936000" y="0"/>
            <a:ext cx="8256000" cy="6858267"/>
          </a:xfrm>
          <a:solidFill>
            <a:schemeClr val="tx2"/>
          </a:solidFill>
        </p:spPr>
        <p:txBody>
          <a:bodyPr tIns="1080000" anchor="t" anchorCtr="1"/>
          <a:lstStyle>
            <a:lvl1pPr rtl="0">
              <a:buFontTx/>
              <a:buNone/>
              <a:defRPr>
                <a:solidFill>
                  <a:schemeClr val="bg1"/>
                </a:solidFill>
              </a:defRPr>
            </a:lvl1pPr>
          </a:lstStyle>
          <a:p>
            <a:r>
              <a:rPr lang="en-GB"/>
              <a:t>To insert a picture, click on the icon in the middle.</a:t>
            </a:r>
          </a:p>
        </p:txBody>
      </p:sp>
      <p:sp>
        <p:nvSpPr>
          <p:cNvPr id="13" name="Text Placeholder 1"/>
          <p:cNvSpPr>
            <a:spLocks noGrp="1"/>
          </p:cNvSpPr>
          <p:nvPr>
            <p:ph type="subTitle" idx="1" hasCustomPrompt="1"/>
          </p:nvPr>
        </p:nvSpPr>
        <p:spPr>
          <a:xfrm>
            <a:off x="0" y="5328000"/>
            <a:ext cx="3936000" cy="1530240"/>
          </a:xfrm>
          <a:solidFill>
            <a:schemeClr val="bg1"/>
          </a:solidFill>
        </p:spPr>
        <p:txBody>
          <a:bodyPr wrap="none" lIns="252000" tIns="72000" bIns="72000" anchor="b" anchorCtr="0">
            <a:noAutofit/>
          </a:bodyPr>
          <a:lstStyle>
            <a:lvl1pPr marL="0" indent="0" algn="dist" rtl="0">
              <a:lnSpc>
                <a:spcPts val="10666"/>
              </a:lnSpc>
              <a:spcAft>
                <a:spcPts val="0"/>
              </a:spcAft>
              <a:buFontTx/>
              <a:buNone/>
              <a:defRPr sz="10000" baseline="0">
                <a:solidFill>
                  <a:schemeClr val="accent1"/>
                </a:solidFill>
              </a:defRPr>
            </a:lvl1pPr>
          </a:lstStyle>
          <a:p>
            <a:r>
              <a:rPr lang="en-GB"/>
              <a:t>“01”</a:t>
            </a:r>
          </a:p>
        </p:txBody>
      </p:sp>
      <p:sp>
        <p:nvSpPr>
          <p:cNvPr id="4" name="Titel 1"/>
          <p:cNvSpPr>
            <a:spLocks noGrp="1"/>
          </p:cNvSpPr>
          <p:nvPr>
            <p:ph type="title" hasCustomPrompt="1"/>
          </p:nvPr>
        </p:nvSpPr>
        <p:spPr>
          <a:xfrm>
            <a:off x="336000" y="336000"/>
            <a:ext cx="3240000" cy="2304000"/>
          </a:xfrm>
        </p:spPr>
        <p:txBody>
          <a:bodyPr vert="horz" anchor="t" anchorCtr="0"/>
          <a:lstStyle>
            <a:lvl1pPr rtl="0">
              <a:defRPr>
                <a:solidFill>
                  <a:schemeClr val="tx2"/>
                </a:solidFill>
              </a:defRPr>
            </a:lvl1pPr>
          </a:lstStyle>
          <a:p>
            <a:r>
              <a:rPr lang="en-GB"/>
              <a:t>Separating slide</a:t>
            </a:r>
            <a:br>
              <a:rPr lang="en-GB"/>
            </a:br>
            <a:r>
              <a:rPr lang="en-GB"/>
              <a:t>with picture 20 pt, five lines max. </a:t>
            </a:r>
          </a:p>
        </p:txBody>
      </p:sp>
      <p:sp>
        <p:nvSpPr>
          <p:cNvPr id="5" name="Source 1"/>
          <p:cNvSpPr>
            <a:spLocks noGrp="1"/>
          </p:cNvSpPr>
          <p:nvPr>
            <p:ph type="body" sz="quarter" idx="12" hasCustomPrompt="1"/>
          </p:nvPr>
        </p:nvSpPr>
        <p:spPr>
          <a:xfrm>
            <a:off x="9024000" y="6634469"/>
            <a:ext cx="3168000" cy="223532"/>
          </a:xfrm>
        </p:spPr>
        <p:txBody>
          <a:bodyPr wrap="none" tIns="72000" rIns="108000" bIns="72000" anchor="ctr"/>
          <a:lstStyle>
            <a:lvl1pPr marL="0" indent="0" algn="r" rtl="0">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337702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168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3456000"/>
          </a:xfrm>
          <a:solidFill>
            <a:schemeClr val="tx2"/>
          </a:solidFill>
        </p:spPr>
        <p:txBody>
          <a:bodyPr tIns="72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GB"/>
              <a:t>To insert a cover picture, click on the icon in the middle.</a:t>
            </a:r>
            <a:br>
              <a:rPr lang="en-GB"/>
            </a:br>
            <a:r>
              <a:rPr lang="en-GB"/>
              <a:t>If no picture is wanted you may choose a colour instead.</a:t>
            </a:r>
          </a:p>
        </p:txBody>
      </p:sp>
      <p:pic>
        <p:nvPicPr>
          <p:cNvPr id="13" name="MR Logo 2"/>
          <p:cNvPicPr>
            <a:picLocks noChangeAspect="1"/>
          </p:cNvPicPr>
          <p:nvPr/>
        </p:nvPicPr>
        <p:blipFill>
          <a:blip r:embed="rId2"/>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408000" y="3744000"/>
            <a:ext cx="8496000" cy="1152000"/>
          </a:xfrm>
        </p:spPr>
        <p:txBody>
          <a:bodyPr anchor="t">
            <a:noAutofit/>
          </a:bodyPr>
          <a:lstStyle>
            <a:lvl1pPr>
              <a:lnSpc>
                <a:spcPct val="100000"/>
              </a:lnSpc>
              <a:defRPr sz="3200" baseline="0"/>
            </a:lvl1pPr>
          </a:lstStyle>
          <a:p>
            <a:r>
              <a:rPr lang="en-GB"/>
              <a:t>Title 24 pt,</a:t>
            </a:r>
            <a:br>
              <a:rPr lang="en-GB"/>
            </a:br>
            <a:r>
              <a:rPr lang="en-GB"/>
              <a:t>two lines max.</a:t>
            </a:r>
          </a:p>
        </p:txBody>
      </p:sp>
      <p:sp>
        <p:nvSpPr>
          <p:cNvPr id="3" name="Subtitle 1"/>
          <p:cNvSpPr>
            <a:spLocks noGrp="1"/>
          </p:cNvSpPr>
          <p:nvPr>
            <p:ph type="subTitle" idx="1" hasCustomPrompt="1"/>
          </p:nvPr>
        </p:nvSpPr>
        <p:spPr>
          <a:xfrm>
            <a:off x="408000" y="5760000"/>
            <a:ext cx="8496000" cy="576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a:t>
            </a:r>
            <a:br>
              <a:rPr lang="en-GB"/>
            </a:br>
            <a:r>
              <a:rPr lang="en-GB"/>
              <a:t>Name of speaker</a:t>
            </a:r>
          </a:p>
        </p:txBody>
      </p:sp>
      <p:sp>
        <p:nvSpPr>
          <p:cNvPr id="7" name="Source 1"/>
          <p:cNvSpPr>
            <a:spLocks noGrp="1"/>
          </p:cNvSpPr>
          <p:nvPr>
            <p:ph type="body" sz="quarter" idx="12" hasCustomPrompt="1"/>
          </p:nvPr>
        </p:nvSpPr>
        <p:spPr>
          <a:xfrm>
            <a:off x="9024000" y="3168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406532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3456000"/>
          </a:xfrm>
          <a:solidFill>
            <a:schemeClr val="tx2"/>
          </a:solidFill>
        </p:spPr>
        <p:txBody>
          <a:bodyPr tIns="72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GB"/>
              <a:t>To insert a cover picture, click on the icon in the middle.</a:t>
            </a:r>
            <a:br>
              <a:rPr lang="en-GB"/>
            </a:br>
            <a:r>
              <a:rPr lang="en-GB"/>
              <a:t>If no picture is wanted you may choose a colour instead.</a:t>
            </a:r>
          </a:p>
        </p:txBody>
      </p:sp>
      <p:pic>
        <p:nvPicPr>
          <p:cNvPr id="30" name="MR Logo 2"/>
          <p:cNvPicPr>
            <a:picLocks noChangeAspect="1"/>
          </p:cNvPicPr>
          <p:nvPr/>
        </p:nvPicPr>
        <p:blipFill>
          <a:blip r:embed="rId2"/>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408000" y="3744000"/>
            <a:ext cx="8496000" cy="1152000"/>
          </a:xfrm>
        </p:spPr>
        <p:txBody>
          <a:bodyPr anchor="t">
            <a:noAutofit/>
          </a:bodyPr>
          <a:lstStyle>
            <a:lvl1pPr>
              <a:lnSpc>
                <a:spcPct val="100000"/>
              </a:lnSpc>
              <a:defRPr sz="3200" baseline="0"/>
            </a:lvl1pPr>
          </a:lstStyle>
          <a:p>
            <a:r>
              <a:rPr lang="en-GB"/>
              <a:t>Title 24 pt,</a:t>
            </a:r>
            <a:br>
              <a:rPr lang="en-GB"/>
            </a:br>
            <a:r>
              <a:rPr lang="en-GB"/>
              <a:t>two lines max.</a:t>
            </a:r>
          </a:p>
        </p:txBody>
      </p:sp>
      <p:sp>
        <p:nvSpPr>
          <p:cNvPr id="3" name="Subtitle 1"/>
          <p:cNvSpPr>
            <a:spLocks noGrp="1"/>
          </p:cNvSpPr>
          <p:nvPr>
            <p:ph type="subTitle" idx="1" hasCustomPrompt="1"/>
          </p:nvPr>
        </p:nvSpPr>
        <p:spPr>
          <a:xfrm>
            <a:off x="408000" y="5472000"/>
            <a:ext cx="8496000" cy="288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 | Name of speaker</a:t>
            </a:r>
          </a:p>
        </p:txBody>
      </p:sp>
      <p:sp>
        <p:nvSpPr>
          <p:cNvPr id="8" name="Text Placeholder 1"/>
          <p:cNvSpPr>
            <a:spLocks noGrp="1"/>
          </p:cNvSpPr>
          <p:nvPr>
            <p:ph type="body" sz="quarter" idx="25" hasCustomPrompt="1"/>
          </p:nvPr>
        </p:nvSpPr>
        <p:spPr>
          <a:xfrm>
            <a:off x="408000" y="6046667"/>
            <a:ext cx="3408000" cy="288000"/>
          </a:xfrm>
        </p:spPr>
        <p:txBody>
          <a:bodyPr wrap="none"/>
          <a:lstStyle>
            <a:lvl1pPr marL="0" indent="0">
              <a:lnSpc>
                <a:spcPct val="100000"/>
              </a:lnSpc>
              <a:spcBef>
                <a:spcPts val="0"/>
              </a:spcBef>
              <a:spcAft>
                <a:spcPts val="0"/>
              </a:spcAft>
              <a:buClrTx/>
              <a:buSzTx/>
              <a:buFontTx/>
              <a:buNone/>
              <a:tabLst/>
              <a:defRPr>
                <a:solidFill>
                  <a:srgbClr val="0066FF"/>
                </a:solidFill>
              </a:defRPr>
            </a:lvl1pPr>
          </a:lstStyle>
          <a:p>
            <a:pPr lvl="0"/>
            <a:r>
              <a:rPr lang="en-GB"/>
              <a:t>Risk carrier name (only for PI specialty, non-insurance related business)</a:t>
            </a:r>
          </a:p>
        </p:txBody>
      </p:sp>
      <p:sp>
        <p:nvSpPr>
          <p:cNvPr id="7" name="Source 1"/>
          <p:cNvSpPr>
            <a:spLocks noGrp="1"/>
          </p:cNvSpPr>
          <p:nvPr>
            <p:ph type="body" sz="quarter" idx="12" hasCustomPrompt="1"/>
          </p:nvPr>
        </p:nvSpPr>
        <p:spPr>
          <a:xfrm>
            <a:off x="9024000" y="3168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149874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6858267"/>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7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en-GB"/>
              <a:t>To insert a cover picture, click on the icon in the middle.</a:t>
            </a:r>
            <a:br>
              <a:rPr lang="en-GB"/>
            </a:br>
            <a:r>
              <a:rPr lang="en-GB"/>
              <a:t>If no picture is wanted you may choose a colour instead.</a:t>
            </a:r>
          </a:p>
        </p:txBody>
      </p:sp>
      <p:sp>
        <p:nvSpPr>
          <p:cNvPr id="31" name="White Box 1"/>
          <p:cNvSpPr/>
          <p:nvPr/>
        </p:nvSpPr>
        <p:spPr>
          <a:xfrm>
            <a:off x="0" y="3744000"/>
            <a:ext cx="1219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pic>
        <p:nvPicPr>
          <p:cNvPr id="8" name="MR Logo 2">
            <a:extLst>
              <a:ext uri="{FF2B5EF4-FFF2-40B4-BE49-F238E27FC236}">
                <a16:creationId xmlns:a16="http://schemas.microsoft.com/office/drawing/2014/main" id="{8FEF3CE3-1A28-43FB-A37B-0428E6C46E30}"/>
              </a:ext>
            </a:extLst>
          </p:cNvPr>
          <p:cNvPicPr>
            <a:picLocks noChangeAspect="1"/>
          </p:cNvPicPr>
          <p:nvPr/>
        </p:nvPicPr>
        <p:blipFill>
          <a:blip r:embed="rId2"/>
          <a:stretch>
            <a:fillRect/>
          </a:stretch>
        </p:blipFill>
        <p:spPr>
          <a:xfrm>
            <a:off x="9412800" y="5535600"/>
            <a:ext cx="2016000" cy="465600"/>
          </a:xfrm>
          <a:prstGeom prst="rect">
            <a:avLst/>
          </a:prstGeom>
        </p:spPr>
      </p:pic>
      <p:sp>
        <p:nvSpPr>
          <p:cNvPr id="11" name="Title 1"/>
          <p:cNvSpPr>
            <a:spLocks noGrp="1"/>
          </p:cNvSpPr>
          <p:nvPr>
            <p:ph type="ctrTitle" hasCustomPrompt="1"/>
          </p:nvPr>
        </p:nvSpPr>
        <p:spPr>
          <a:xfrm>
            <a:off x="408000" y="3744000"/>
            <a:ext cx="8496000" cy="1728000"/>
          </a:xfrm>
          <a:noFill/>
        </p:spPr>
        <p:txBody>
          <a:bodyPr lIns="0" tIns="216000" rIns="0" bIns="0" anchor="t">
            <a:noAutofit/>
          </a:bodyPr>
          <a:lstStyle>
            <a:lvl1pPr>
              <a:lnSpc>
                <a:spcPct val="100000"/>
              </a:lnSpc>
              <a:defRPr sz="3200" baseline="0"/>
            </a:lvl1pPr>
          </a:lstStyle>
          <a:p>
            <a:r>
              <a:rPr lang="en-GB"/>
              <a:t>Title 24 pt,</a:t>
            </a:r>
            <a:br>
              <a:rPr lang="en-GB"/>
            </a:br>
            <a:r>
              <a:rPr lang="en-GB"/>
              <a:t>two lines max.</a:t>
            </a:r>
          </a:p>
        </p:txBody>
      </p:sp>
      <p:sp>
        <p:nvSpPr>
          <p:cNvPr id="12" name="Subtitle 1"/>
          <p:cNvSpPr>
            <a:spLocks noGrp="1"/>
          </p:cNvSpPr>
          <p:nvPr>
            <p:ph type="subTitle" idx="1" hasCustomPrompt="1"/>
          </p:nvPr>
        </p:nvSpPr>
        <p:spPr>
          <a:xfrm>
            <a:off x="408000" y="5472000"/>
            <a:ext cx="8496000" cy="576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a:t>
            </a:r>
            <a:br>
              <a:rPr lang="en-GB"/>
            </a:br>
            <a:r>
              <a:rPr lang="en-GB"/>
              <a:t>Name of speaker</a:t>
            </a:r>
          </a:p>
        </p:txBody>
      </p:sp>
      <p:sp>
        <p:nvSpPr>
          <p:cNvPr id="10" name="Source 1"/>
          <p:cNvSpPr>
            <a:spLocks noGrp="1"/>
          </p:cNvSpPr>
          <p:nvPr>
            <p:ph type="body" sz="quarter" idx="12" hasCustomPrompt="1"/>
          </p:nvPr>
        </p:nvSpPr>
        <p:spPr>
          <a:xfrm>
            <a:off x="9024000" y="6570267"/>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291789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2">
    <p:bg>
      <p:bgPr>
        <a:solidFill>
          <a:schemeClr val="bg1"/>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0"/>
            <a:ext cx="12192000" cy="6858267"/>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5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en-GB"/>
              <a:t>To insert a cover picture, click on the icon in the middle.</a:t>
            </a:r>
            <a:br>
              <a:rPr lang="en-GB"/>
            </a:br>
            <a:r>
              <a:rPr lang="en-GB"/>
              <a:t>If no picture is wanted you may choose a colour instead.</a:t>
            </a:r>
          </a:p>
        </p:txBody>
      </p:sp>
      <p:sp>
        <p:nvSpPr>
          <p:cNvPr id="11" name="White Box 1"/>
          <p:cNvSpPr/>
          <p:nvPr/>
        </p:nvSpPr>
        <p:spPr>
          <a:xfrm>
            <a:off x="0" y="3744000"/>
            <a:ext cx="12192000" cy="25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pic>
        <p:nvPicPr>
          <p:cNvPr id="9" name="MR Logo 2">
            <a:extLst>
              <a:ext uri="{FF2B5EF4-FFF2-40B4-BE49-F238E27FC236}">
                <a16:creationId xmlns:a16="http://schemas.microsoft.com/office/drawing/2014/main" id="{4D785081-306B-4BE7-BCD2-2A0411BED458}"/>
              </a:ext>
            </a:extLst>
          </p:cNvPr>
          <p:cNvPicPr>
            <a:picLocks noChangeAspect="1"/>
          </p:cNvPicPr>
          <p:nvPr/>
        </p:nvPicPr>
        <p:blipFill>
          <a:blip r:embed="rId2"/>
          <a:stretch>
            <a:fillRect/>
          </a:stretch>
        </p:blipFill>
        <p:spPr>
          <a:xfrm>
            <a:off x="9412800" y="5535600"/>
            <a:ext cx="2016000" cy="465600"/>
          </a:xfrm>
          <a:prstGeom prst="rect">
            <a:avLst/>
          </a:prstGeom>
        </p:spPr>
      </p:pic>
      <p:sp>
        <p:nvSpPr>
          <p:cNvPr id="3" name="Title 1"/>
          <p:cNvSpPr>
            <a:spLocks noGrp="1"/>
          </p:cNvSpPr>
          <p:nvPr>
            <p:ph type="ctrTitle" hasCustomPrompt="1"/>
          </p:nvPr>
        </p:nvSpPr>
        <p:spPr>
          <a:xfrm>
            <a:off x="408000" y="3744000"/>
            <a:ext cx="8496000" cy="1728000"/>
          </a:xfrm>
          <a:noFill/>
        </p:spPr>
        <p:txBody>
          <a:bodyPr lIns="0" tIns="216000" rIns="0" bIns="0" anchor="t">
            <a:noAutofit/>
          </a:bodyPr>
          <a:lstStyle>
            <a:lvl1pPr>
              <a:lnSpc>
                <a:spcPct val="100000"/>
              </a:lnSpc>
              <a:defRPr sz="3200" baseline="0"/>
            </a:lvl1pPr>
          </a:lstStyle>
          <a:p>
            <a:r>
              <a:rPr lang="en-GB"/>
              <a:t>Title 24 pt,</a:t>
            </a:r>
            <a:br>
              <a:rPr lang="en-GB"/>
            </a:br>
            <a:r>
              <a:rPr lang="en-GB"/>
              <a:t>two lines max. </a:t>
            </a:r>
            <a:br>
              <a:rPr lang="en-GB"/>
            </a:br>
            <a:endParaRPr lang="en-GB"/>
          </a:p>
        </p:txBody>
      </p:sp>
      <p:sp>
        <p:nvSpPr>
          <p:cNvPr id="12" name="Subtitle 1"/>
          <p:cNvSpPr>
            <a:spLocks noGrp="1"/>
          </p:cNvSpPr>
          <p:nvPr>
            <p:ph type="subTitle" idx="1" hasCustomPrompt="1"/>
          </p:nvPr>
        </p:nvSpPr>
        <p:spPr>
          <a:xfrm>
            <a:off x="408000" y="5184000"/>
            <a:ext cx="8496000" cy="288000"/>
          </a:xfrm>
          <a:noFill/>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 | Name of speaker</a:t>
            </a:r>
          </a:p>
        </p:txBody>
      </p:sp>
      <p:sp>
        <p:nvSpPr>
          <p:cNvPr id="8" name="Text Placeholder 1"/>
          <p:cNvSpPr>
            <a:spLocks noGrp="1"/>
          </p:cNvSpPr>
          <p:nvPr>
            <p:ph type="body" sz="quarter" idx="25" hasCustomPrompt="1"/>
          </p:nvPr>
        </p:nvSpPr>
        <p:spPr>
          <a:xfrm>
            <a:off x="408000" y="5760000"/>
            <a:ext cx="3408000" cy="288000"/>
          </a:xfrm>
          <a:noFill/>
        </p:spPr>
        <p:txBody>
          <a:bodyPr wrap="none"/>
          <a:lstStyle>
            <a:lvl1pPr marL="0" indent="0">
              <a:lnSpc>
                <a:spcPct val="100000"/>
              </a:lnSpc>
              <a:spcBef>
                <a:spcPts val="0"/>
              </a:spcBef>
              <a:spcAft>
                <a:spcPts val="0"/>
              </a:spcAft>
              <a:buClrTx/>
              <a:buSzTx/>
              <a:buFontTx/>
              <a:buNone/>
              <a:tabLst/>
              <a:defRPr>
                <a:solidFill>
                  <a:srgbClr val="0066FF"/>
                </a:solidFill>
              </a:defRPr>
            </a:lvl1pPr>
          </a:lstStyle>
          <a:p>
            <a:pPr lvl="0"/>
            <a:r>
              <a:rPr lang="en-GB"/>
              <a:t>Risk carrier name (only for PI specialty, non-insurance related business)</a:t>
            </a:r>
          </a:p>
        </p:txBody>
      </p:sp>
      <p:sp>
        <p:nvSpPr>
          <p:cNvPr id="2" name="Source 1"/>
          <p:cNvSpPr>
            <a:spLocks noGrp="1"/>
          </p:cNvSpPr>
          <p:nvPr>
            <p:ph type="body" sz="quarter" idx="12" hasCustomPrompt="1"/>
          </p:nvPr>
        </p:nvSpPr>
        <p:spPr>
          <a:xfrm>
            <a:off x="9024000" y="6570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GB"/>
              <a:t>Image: Please quote the image / source / name of  photographer</a:t>
            </a:r>
          </a:p>
        </p:txBody>
      </p:sp>
    </p:spTree>
    <p:extLst>
      <p:ext uri="{BB962C8B-B14F-4D97-AF65-F5344CB8AC3E}">
        <p14:creationId xmlns:p14="http://schemas.microsoft.com/office/powerpoint/2010/main" val="278100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7" name="Date Placeholder 1"/>
          <p:cNvSpPr>
            <a:spLocks noGrp="1"/>
          </p:cNvSpPr>
          <p:nvPr>
            <p:ph type="dt" sz="half" idx="10"/>
          </p:nvPr>
        </p:nvSpPr>
        <p:spPr/>
        <p:txBody>
          <a:bodyPr/>
          <a:lstStyle/>
          <a:p>
            <a:r>
              <a:rPr lang="de-DE" noProof="0"/>
              <a:t>3rd-4th September 2024</a:t>
            </a:r>
            <a:endParaRPr lang="en-GB" noProof="0"/>
          </a:p>
        </p:txBody>
      </p:sp>
      <p:sp>
        <p:nvSpPr>
          <p:cNvPr id="9" name="Footer Placeholder 1"/>
          <p:cNvSpPr>
            <a:spLocks noGrp="1"/>
          </p:cNvSpPr>
          <p:nvPr>
            <p:ph type="ftr" sz="quarter" idx="12"/>
          </p:nvPr>
        </p:nvSpPr>
        <p:spPr/>
        <p:txBody>
          <a:bodyPr/>
          <a:lstStyle/>
          <a:p>
            <a:r>
              <a:rPr lang="fr-FR" noProof="0"/>
              <a:t>Digital Solution P&amp;C | Embrace Pet Portfolio </a:t>
            </a:r>
            <a:endParaRPr lang="en-GB" noProof="0"/>
          </a:p>
        </p:txBody>
      </p:sp>
      <p:sp>
        <p:nvSpPr>
          <p:cNvPr id="2" name="Title 1"/>
          <p:cNvSpPr>
            <a:spLocks noGrp="1"/>
          </p:cNvSpPr>
          <p:nvPr>
            <p:ph type="title" hasCustomPrompt="1"/>
          </p:nvPr>
        </p:nvSpPr>
        <p:spPr/>
        <p:txBody>
          <a:bodyPr/>
          <a:lstStyle>
            <a:lvl1pPr>
              <a:defRPr baseline="0"/>
            </a:lvl1pPr>
          </a:lstStyle>
          <a:p>
            <a:r>
              <a:rPr lang="en-GB"/>
              <a:t>Title 20 pt, two lines max. for Agenda</a:t>
            </a:r>
            <a:endParaRPr lang="en-GB" noProof="0"/>
          </a:p>
        </p:txBody>
      </p:sp>
      <p:sp>
        <p:nvSpPr>
          <p:cNvPr id="3" name="Content Placeholder 1"/>
          <p:cNvSpPr>
            <a:spLocks noGrp="1"/>
          </p:cNvSpPr>
          <p:nvPr>
            <p:ph idx="1" hasCustomPrompt="1"/>
          </p:nvPr>
        </p:nvSpPr>
        <p:spPr/>
        <p:txBody>
          <a:bodyPr/>
          <a:lstStyle>
            <a:lvl1pPr marL="599985" indent="-599985">
              <a:spcAft>
                <a:spcPts val="1200"/>
              </a:spcAft>
              <a:buClr>
                <a:srgbClr val="0066FF"/>
              </a:buClr>
              <a:buSzPct val="145000"/>
              <a:buAutoNum type="arabicPeriod"/>
              <a:defRPr/>
            </a:lvl1pPr>
            <a:lvl2pPr marL="959976">
              <a:defRPr/>
            </a:lvl2pPr>
            <a:lvl3pPr marL="1247969">
              <a:defRPr/>
            </a:lvl3pPr>
            <a:lvl4pPr marL="1535962">
              <a:defRPr/>
            </a:lvl4pPr>
            <a:lvl5pPr marL="1823954">
              <a:defRPr/>
            </a:lvl5pPr>
            <a:lvl6pPr marL="2111947">
              <a:defRPr/>
            </a:lvl6pPr>
            <a:lvl7pPr marL="2399940">
              <a:defRPr/>
            </a:lvl7pPr>
            <a:lvl8pPr marL="2687933">
              <a:defRPr baseline="0"/>
            </a:lvl8pPr>
            <a:lvl9pPr marL="2975926">
              <a:defRPr baseline="0"/>
            </a:lvl9pPr>
          </a:lstStyle>
          <a:p>
            <a:pPr lvl="0"/>
            <a:r>
              <a:rPr lang="en-GB"/>
              <a:t>To </a:t>
            </a:r>
            <a:r>
              <a:rPr lang="en-GB" err="1"/>
              <a:t>customise</a:t>
            </a:r>
            <a:r>
              <a:rPr lang="en-GB"/>
              <a:t>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390668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r>
              <a:rPr lang="de-DE" noProof="0"/>
              <a:t>3rd-4th September 2024</a:t>
            </a:r>
            <a:endParaRPr lang="en-GB" noProof="0"/>
          </a:p>
        </p:txBody>
      </p:sp>
      <p:sp>
        <p:nvSpPr>
          <p:cNvPr id="8" name="Slide Number Placeholder 1"/>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ooter Placeholder 1"/>
          <p:cNvSpPr>
            <a:spLocks noGrp="1"/>
          </p:cNvSpPr>
          <p:nvPr>
            <p:ph type="ftr" sz="quarter" idx="12"/>
          </p:nvPr>
        </p:nvSpPr>
        <p:spPr/>
        <p:txBody>
          <a:bodyPr/>
          <a:lstStyle/>
          <a:p>
            <a:r>
              <a:rPr lang="fr-FR" noProof="0"/>
              <a:t>Digital Solution P&amp;C | Embrace Pet Portfolio </a:t>
            </a:r>
            <a:endParaRPr lang="en-GB" noProof="0"/>
          </a:p>
        </p:txBody>
      </p:sp>
      <p:sp>
        <p:nvSpPr>
          <p:cNvPr id="2" name="Title 1"/>
          <p:cNvSpPr>
            <a:spLocks noGrp="1"/>
          </p:cNvSpPr>
          <p:nvPr>
            <p:ph type="title" hasCustomPrompt="1"/>
          </p:nvPr>
        </p:nvSpPr>
        <p:spPr/>
        <p:txBody>
          <a:bodyPr/>
          <a:lstStyle/>
          <a:p>
            <a:r>
              <a:rPr lang="en-GB"/>
              <a:t>Title 20 pt, two lines max. and bulleted list</a:t>
            </a:r>
            <a:endParaRPr lang="en-GB" noProof="0"/>
          </a:p>
        </p:txBody>
      </p:sp>
      <p:sp>
        <p:nvSpPr>
          <p:cNvPr id="3" name="Content Placeholder 1"/>
          <p:cNvSpPr>
            <a:spLocks noGrp="1"/>
          </p:cNvSpPr>
          <p:nvPr>
            <p:ph idx="1" hasCustomPrompt="1"/>
          </p:nvPr>
        </p:nvSpPr>
        <p:spPr/>
        <p:txBody>
          <a:bodyPr/>
          <a:lstStyle>
            <a:lvl1pPr>
              <a:defRPr/>
            </a:lvl1pPr>
          </a:lstStyle>
          <a:p>
            <a:pPr lvl="0"/>
            <a:r>
              <a:rPr lang="en-GB"/>
              <a:t>To customise the points hierarchy, use Start &gt; Paragraph &gt; Decrease/Increase List Level. Alternatively, insert table, chart, SmartArt graphic, picture or online graphic.</a:t>
            </a:r>
            <a:br>
              <a:rPr lang="en-GB"/>
            </a:br>
            <a:r>
              <a:rPr lang="en-GB"/>
              <a:t>Formatting charts: You can use all Monochromatic colors and Colorful Palette 1.                                Please use only Style 1, 2, 6 or 1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133748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image" Target="../media/image2.emf"/><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image" Target="../media/image3.emf"/><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oleObject" Target="../embeddings/oleObject4.bin"/><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tags" Target="../tags/tag4.xml"/><Relationship Id="rId8"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A5B3ABF-C737-43BA-92AD-12227E01E75C}"/>
              </a:ext>
            </a:extLst>
          </p:cNvPr>
          <p:cNvGraphicFramePr>
            <a:graphicFrameLocks noChangeAspect="1"/>
          </p:cNvGraphicFramePr>
          <p:nvPr userDrawn="1">
            <p:custDataLst>
              <p:tags r:id="rId5"/>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6" imgW="425" imgH="426" progId="TCLayout.ActiveDocument.1">
                  <p:embed/>
                </p:oleObj>
              </mc:Choice>
              <mc:Fallback>
                <p:oleObj name="think-cell Folie" r:id="rId6" imgW="425" imgH="426" progId="TCLayout.ActiveDocument.1">
                  <p:embed/>
                  <p:pic>
                    <p:nvPicPr>
                      <p:cNvPr id="8" name="Objekt 7" hidden="1">
                        <a:extLst>
                          <a:ext uri="{FF2B5EF4-FFF2-40B4-BE49-F238E27FC236}">
                            <a16:creationId xmlns:a16="http://schemas.microsoft.com/office/drawing/2014/main" id="{8A5B3ABF-C737-43BA-92AD-12227E01E75C}"/>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pic>
        <p:nvPicPr>
          <p:cNvPr id="18" name="Logo 1">
            <a:extLst>
              <a:ext uri="{FF2B5EF4-FFF2-40B4-BE49-F238E27FC236}">
                <a16:creationId xmlns:a16="http://schemas.microsoft.com/office/drawing/2014/main" id="{ECB33FF8-6057-4865-A816-0910E6D24BD6}"/>
              </a:ext>
            </a:extLst>
          </p:cNvPr>
          <p:cNvPicPr preferRelativeResize="0">
            <a:picLocks/>
          </p:cNvPicPr>
          <p:nvPr/>
        </p:nvPicPr>
        <p:blipFill>
          <a:blip r:embed="rId8"/>
          <a:stretch>
            <a:fillRect/>
          </a:stretch>
        </p:blipFill>
        <p:spPr>
          <a:xfrm>
            <a:off x="10041600" y="409800"/>
            <a:ext cx="1742400" cy="403200"/>
          </a:xfrm>
          <a:prstGeom prst="rect">
            <a:avLst/>
          </a:prstGeom>
        </p:spPr>
      </p:pic>
      <p:sp>
        <p:nvSpPr>
          <p:cNvPr id="2" name="Slide Number Placeholder 1"/>
          <p:cNvSpPr>
            <a:spLocks noGrp="1"/>
          </p:cNvSpPr>
          <p:nvPr>
            <p:ph type="sldNum" sz="quarter" idx="4"/>
          </p:nvPr>
        </p:nvSpPr>
        <p:spPr>
          <a:xfrm>
            <a:off x="11304000" y="6528000"/>
            <a:ext cx="480000" cy="240000"/>
          </a:xfrm>
          <a:prstGeom prst="rect">
            <a:avLst/>
          </a:prstGeom>
        </p:spPr>
        <p:txBody>
          <a:bodyPr vert="horz" lIns="0" tIns="0" rIns="0" bIns="0" rtlCol="0" anchor="ctr"/>
          <a:lstStyle>
            <a:lvl1pPr algn="r" rtl="0">
              <a:defRPr sz="800" b="1">
                <a:solidFill>
                  <a:schemeClr val="tx2"/>
                </a:solidFill>
              </a:defRPr>
            </a:lvl1pPr>
          </a:lstStyle>
          <a:p>
            <a:fld id="{D56DB8AA-803C-49D2-90AA-1140CE72DCD7}" type="slidenum">
              <a:rPr lang="en-GB" smtClean="0"/>
              <a:pPr/>
              <a:t>‹#›</a:t>
            </a:fld>
            <a:endParaRPr lang="en-GB"/>
          </a:p>
        </p:txBody>
      </p:sp>
      <p:sp>
        <p:nvSpPr>
          <p:cNvPr id="3" name="Date Placeholder 1"/>
          <p:cNvSpPr>
            <a:spLocks noGrp="1"/>
          </p:cNvSpPr>
          <p:nvPr>
            <p:ph type="dt" sz="half" idx="2"/>
          </p:nvPr>
        </p:nvSpPr>
        <p:spPr>
          <a:xfrm>
            <a:off x="10176000" y="6528000"/>
            <a:ext cx="1104000" cy="240000"/>
          </a:xfrm>
          <a:prstGeom prst="rect">
            <a:avLst/>
          </a:prstGeom>
        </p:spPr>
        <p:txBody>
          <a:bodyPr vert="horz" wrap="none" lIns="0" tIns="0" rIns="0" bIns="0" rtlCol="0" anchor="ctr"/>
          <a:lstStyle>
            <a:lvl1pPr algn="r" rtl="0">
              <a:defRPr sz="800">
                <a:solidFill>
                  <a:schemeClr val="tx2"/>
                </a:solidFill>
              </a:defRPr>
            </a:lvl1pPr>
          </a:lstStyle>
          <a:p>
            <a:endParaRPr lang="en-GB"/>
          </a:p>
        </p:txBody>
      </p:sp>
      <p:sp>
        <p:nvSpPr>
          <p:cNvPr id="4" name="Footer Placeholder 1"/>
          <p:cNvSpPr>
            <a:spLocks noGrp="1"/>
          </p:cNvSpPr>
          <p:nvPr>
            <p:ph type="ftr" sz="quarter" idx="3"/>
          </p:nvPr>
        </p:nvSpPr>
        <p:spPr>
          <a:xfrm>
            <a:off x="5224000" y="6528000"/>
            <a:ext cx="4800000" cy="240000"/>
          </a:xfrm>
          <a:prstGeom prst="rect">
            <a:avLst/>
          </a:prstGeom>
        </p:spPr>
        <p:txBody>
          <a:bodyPr vert="horz" lIns="0" tIns="0" rIns="0" bIns="0" rtlCol="0" anchor="ctr"/>
          <a:lstStyle>
            <a:lvl1pPr algn="r" rtl="0">
              <a:defRPr sz="800">
                <a:solidFill>
                  <a:schemeClr val="tx2"/>
                </a:solidFill>
              </a:defRPr>
            </a:lvl1pPr>
          </a:lstStyle>
          <a:p>
            <a:r>
              <a:rPr lang="en-US"/>
              <a:t>IIG - Insurance Backed Performance Guarantees</a:t>
            </a:r>
            <a:endParaRPr lang="en-GB"/>
          </a:p>
        </p:txBody>
      </p:sp>
      <p:sp>
        <p:nvSpPr>
          <p:cNvPr id="5" name="Titel 1"/>
          <p:cNvSpPr>
            <a:spLocks noGrp="1"/>
          </p:cNvSpPr>
          <p:nvPr>
            <p:ph type="title"/>
          </p:nvPr>
        </p:nvSpPr>
        <p:spPr>
          <a:xfrm>
            <a:off x="408000" y="480000"/>
            <a:ext cx="9024000" cy="816000"/>
          </a:xfrm>
          <a:prstGeom prst="rect">
            <a:avLst/>
          </a:prstGeom>
        </p:spPr>
        <p:txBody>
          <a:bodyPr vert="horz" lIns="0" tIns="0" rIns="0" bIns="0" rtlCol="0" anchor="t" anchorCtr="0">
            <a:noAutofit/>
          </a:bodyPr>
          <a:lstStyle/>
          <a:p>
            <a:r>
              <a:rPr lang="en-GB" noProof="0"/>
              <a:t>Title 20 pt,</a:t>
            </a:r>
            <a:br>
              <a:rPr lang="en-GB" noProof="0"/>
            </a:br>
            <a:r>
              <a:rPr lang="en-GB" noProof="0"/>
              <a:t>two lines max.</a:t>
            </a:r>
          </a:p>
        </p:txBody>
      </p:sp>
      <p:sp>
        <p:nvSpPr>
          <p:cNvPr id="6" name="Content Placeholder 1"/>
          <p:cNvSpPr>
            <a:spLocks noGrp="1"/>
          </p:cNvSpPr>
          <p:nvPr>
            <p:ph type="body" idx="1"/>
          </p:nvPr>
        </p:nvSpPr>
        <p:spPr>
          <a:xfrm>
            <a:off x="408000" y="1440000"/>
            <a:ext cx="11376000" cy="4896000"/>
          </a:xfrm>
          <a:prstGeom prst="rect">
            <a:avLst/>
          </a:prstGeom>
        </p:spPr>
        <p:txBody>
          <a:bodyPr vert="horz" lIns="0" tIns="0" rIns="0" bIns="0" rtlCol="0">
            <a:noAutofit/>
          </a:body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1507317626"/>
      </p:ext>
    </p:extLst>
  </p:cSld>
  <p:clrMap bg1="lt1" tx1="dk1" bg2="lt2" tx2="dk2" accent1="accent1" accent2="accent2" accent3="accent3" accent4="accent4" accent5="accent5" accent6="accent6" hlink="hlink" folHlink="folHlink"/>
  <p:sldLayoutIdLst>
    <p:sldLayoutId id="2147483800" r:id="rId1"/>
    <p:sldLayoutId id="2147483795" r:id="rId2"/>
    <p:sldLayoutId id="2147483801"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270000" rtl="0" eaLnBrk="1" latinLnBrk="0" hangingPunct="1">
        <a:spcBef>
          <a:spcPct val="0"/>
        </a:spcBef>
        <a:buNone/>
        <a:defRPr sz="2000" kern="1200">
          <a:solidFill>
            <a:schemeClr val="tx2"/>
          </a:solidFill>
          <a:latin typeface="+mj-lt"/>
          <a:ea typeface="+mj-ea"/>
          <a:cs typeface="+mj-cs"/>
        </a:defRPr>
      </a:lvl1pPr>
    </p:titleStyle>
    <p:body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p:bodyStyle>
    <p:otherStyle>
      <a:defPPr>
        <a:defRPr lang="en-GB"/>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guide id="2" orient="horz" pos="907" userDrawn="1">
          <p15:clr>
            <a:srgbClr val="F26B43"/>
          </p15:clr>
        </p15:guide>
        <p15:guide id="4" pos="7423" userDrawn="1">
          <p15:clr>
            <a:srgbClr val="F26B43"/>
          </p15:clr>
        </p15:guide>
        <p15:guide id="5" orient="horz" pos="3991" userDrawn="1">
          <p15:clr>
            <a:srgbClr val="F26B43"/>
          </p15:clr>
        </p15:guide>
        <p15:guide id="6" orient="horz" pos="3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6CE7D6-6579-45A0-8BA3-AAA89047A233}"/>
              </a:ext>
            </a:extLst>
          </p:cNvPr>
          <p:cNvGraphicFramePr>
            <a:graphicFrameLocks noChangeAspect="1"/>
          </p:cNvGraphicFramePr>
          <p:nvPr userDrawn="1">
            <p:custDataLst>
              <p:tags r:id="rId30"/>
            </p:custDataLst>
            <p:extLst>
              <p:ext uri="{D42A27DB-BD31-4B8C-83A1-F6EECF244321}">
                <p14:modId xmlns:p14="http://schemas.microsoft.com/office/powerpoint/2010/main" val="475289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1" imgW="425" imgH="426" progId="TCLayout.ActiveDocument.1">
                  <p:embed/>
                </p:oleObj>
              </mc:Choice>
              <mc:Fallback>
                <p:oleObj name="think-cell Slide" r:id="rId31" imgW="425" imgH="426" progId="TCLayout.ActiveDocument.1">
                  <p:embed/>
                  <p:pic>
                    <p:nvPicPr>
                      <p:cNvPr id="8" name="Object 7" hidden="1">
                        <a:extLst>
                          <a:ext uri="{FF2B5EF4-FFF2-40B4-BE49-F238E27FC236}">
                            <a16:creationId xmlns:a16="http://schemas.microsoft.com/office/drawing/2014/main" id="{D26CE7D6-6579-45A0-8BA3-AAA89047A233}"/>
                          </a:ext>
                        </a:extLst>
                      </p:cNvPr>
                      <p:cNvPicPr/>
                      <p:nvPr/>
                    </p:nvPicPr>
                    <p:blipFill>
                      <a:blip r:embed="rId32"/>
                      <a:stretch>
                        <a:fillRect/>
                      </a:stretch>
                    </p:blipFill>
                    <p:spPr>
                      <a:xfrm>
                        <a:off x="2118" y="2118"/>
                        <a:ext cx="2117" cy="2117"/>
                      </a:xfrm>
                      <a:prstGeom prst="rect">
                        <a:avLst/>
                      </a:prstGeom>
                    </p:spPr>
                  </p:pic>
                </p:oleObj>
              </mc:Fallback>
            </mc:AlternateContent>
          </a:graphicData>
        </a:graphic>
      </p:graphicFrame>
      <p:pic>
        <p:nvPicPr>
          <p:cNvPr id="18" name="Logo 1">
            <a:extLst>
              <a:ext uri="{FF2B5EF4-FFF2-40B4-BE49-F238E27FC236}">
                <a16:creationId xmlns:a16="http://schemas.microsoft.com/office/drawing/2014/main" id="{ECB33FF8-6057-4865-A816-0910E6D24BD6}"/>
              </a:ext>
            </a:extLst>
          </p:cNvPr>
          <p:cNvPicPr preferRelativeResize="0">
            <a:picLocks/>
          </p:cNvPicPr>
          <p:nvPr/>
        </p:nvPicPr>
        <p:blipFill>
          <a:blip r:embed="rId33"/>
          <a:stretch>
            <a:fillRect/>
          </a:stretch>
        </p:blipFill>
        <p:spPr>
          <a:xfrm>
            <a:off x="10041600" y="409800"/>
            <a:ext cx="1742400" cy="403200"/>
          </a:xfrm>
          <a:prstGeom prst="rect">
            <a:avLst/>
          </a:prstGeom>
        </p:spPr>
      </p:pic>
      <p:sp>
        <p:nvSpPr>
          <p:cNvPr id="2" name="Slide Number Placeholder 1"/>
          <p:cNvSpPr>
            <a:spLocks noGrp="1"/>
          </p:cNvSpPr>
          <p:nvPr>
            <p:ph type="sldNum" sz="quarter" idx="4"/>
          </p:nvPr>
        </p:nvSpPr>
        <p:spPr>
          <a:xfrm>
            <a:off x="11304000" y="6528000"/>
            <a:ext cx="480000" cy="240000"/>
          </a:xfrm>
          <a:prstGeom prst="rect">
            <a:avLst/>
          </a:prstGeom>
        </p:spPr>
        <p:txBody>
          <a:bodyPr vert="horz" lIns="0" tIns="0" rIns="0" bIns="0" rtlCol="0" anchor="ctr"/>
          <a:lstStyle>
            <a:lvl1pPr algn="r">
              <a:defRPr sz="800" b="1">
                <a:solidFill>
                  <a:schemeClr val="tx2"/>
                </a:solidFill>
              </a:defRPr>
            </a:lvl1pPr>
          </a:lstStyle>
          <a:p>
            <a:fld id="{D56DB8AA-803C-49D2-90AA-1140CE72DCD7}" type="slidenum">
              <a:rPr lang="en-GB" smtClean="0"/>
              <a:pPr/>
              <a:t>‹#›</a:t>
            </a:fld>
            <a:endParaRPr lang="en-GB"/>
          </a:p>
        </p:txBody>
      </p:sp>
      <p:sp>
        <p:nvSpPr>
          <p:cNvPr id="3" name="Date Placeholder 1"/>
          <p:cNvSpPr>
            <a:spLocks noGrp="1"/>
          </p:cNvSpPr>
          <p:nvPr>
            <p:ph type="dt" sz="half" idx="2"/>
          </p:nvPr>
        </p:nvSpPr>
        <p:spPr>
          <a:xfrm>
            <a:off x="10176000" y="6528000"/>
            <a:ext cx="1104000" cy="240000"/>
          </a:xfrm>
          <a:prstGeom prst="rect">
            <a:avLst/>
          </a:prstGeom>
        </p:spPr>
        <p:txBody>
          <a:bodyPr vert="horz" wrap="none" lIns="0" tIns="0" rIns="0" bIns="0" rtlCol="0" anchor="ctr"/>
          <a:lstStyle>
            <a:lvl1pPr algn="r">
              <a:defRPr sz="800">
                <a:solidFill>
                  <a:schemeClr val="tx2"/>
                </a:solidFill>
              </a:defRPr>
            </a:lvl1pPr>
          </a:lstStyle>
          <a:p>
            <a:r>
              <a:rPr lang="de-DE"/>
              <a:t>3rd-4th September 2024</a:t>
            </a:r>
            <a:endParaRPr lang="en-GB"/>
          </a:p>
        </p:txBody>
      </p:sp>
      <p:sp>
        <p:nvSpPr>
          <p:cNvPr id="4" name="Footer Placeholder 1"/>
          <p:cNvSpPr>
            <a:spLocks noGrp="1"/>
          </p:cNvSpPr>
          <p:nvPr>
            <p:ph type="ftr" sz="quarter" idx="3"/>
          </p:nvPr>
        </p:nvSpPr>
        <p:spPr>
          <a:xfrm>
            <a:off x="5224000" y="6528000"/>
            <a:ext cx="4800000" cy="240000"/>
          </a:xfrm>
          <a:prstGeom prst="rect">
            <a:avLst/>
          </a:prstGeom>
        </p:spPr>
        <p:txBody>
          <a:bodyPr vert="horz" lIns="0" tIns="0" rIns="0" bIns="0" rtlCol="0" anchor="ctr"/>
          <a:lstStyle>
            <a:lvl1pPr algn="r">
              <a:defRPr sz="800">
                <a:solidFill>
                  <a:schemeClr val="tx2"/>
                </a:solidFill>
              </a:defRPr>
            </a:lvl1pPr>
          </a:lstStyle>
          <a:p>
            <a:r>
              <a:rPr lang="fr-FR"/>
              <a:t>Digital Solution P&amp;C | Embrace Pet Portfolio </a:t>
            </a:r>
            <a:endParaRPr lang="en-GB"/>
          </a:p>
        </p:txBody>
      </p:sp>
      <p:sp>
        <p:nvSpPr>
          <p:cNvPr id="5" name="Titel 1"/>
          <p:cNvSpPr>
            <a:spLocks noGrp="1"/>
          </p:cNvSpPr>
          <p:nvPr>
            <p:ph type="title"/>
          </p:nvPr>
        </p:nvSpPr>
        <p:spPr>
          <a:xfrm>
            <a:off x="408000" y="480000"/>
            <a:ext cx="9024000" cy="816000"/>
          </a:xfrm>
          <a:prstGeom prst="rect">
            <a:avLst/>
          </a:prstGeom>
        </p:spPr>
        <p:txBody>
          <a:bodyPr vert="horz" lIns="0" tIns="0" rIns="0" bIns="0" rtlCol="0" anchor="t" anchorCtr="0">
            <a:noAutofit/>
          </a:bodyPr>
          <a:lstStyle/>
          <a:p>
            <a:r>
              <a:rPr lang="en-GB" noProof="0"/>
              <a:t>Title 20 pt,</a:t>
            </a:r>
            <a:br>
              <a:rPr lang="en-GB" noProof="0"/>
            </a:br>
            <a:r>
              <a:rPr lang="en-GB" noProof="0"/>
              <a:t>two lines max.</a:t>
            </a:r>
          </a:p>
        </p:txBody>
      </p:sp>
      <p:sp>
        <p:nvSpPr>
          <p:cNvPr id="6" name="Content Placeholder 1"/>
          <p:cNvSpPr>
            <a:spLocks noGrp="1"/>
          </p:cNvSpPr>
          <p:nvPr>
            <p:ph type="body" idx="1"/>
          </p:nvPr>
        </p:nvSpPr>
        <p:spPr>
          <a:xfrm>
            <a:off x="408000" y="1440000"/>
            <a:ext cx="11376000" cy="4896000"/>
          </a:xfrm>
          <a:prstGeom prst="rect">
            <a:avLst/>
          </a:prstGeom>
        </p:spPr>
        <p:txBody>
          <a:bodyPr vert="horz" lIns="0" tIns="0" rIns="0" bIns="0" rtlCol="0">
            <a:noAutofit/>
          </a:body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grpSp>
        <p:nvGrpSpPr>
          <p:cNvPr id="9" name="Gruppieren 8">
            <a:extLst>
              <a:ext uri="{FF2B5EF4-FFF2-40B4-BE49-F238E27FC236}">
                <a16:creationId xmlns:a16="http://schemas.microsoft.com/office/drawing/2014/main" id="{ADC9D572-D4FF-46C2-8FDF-985EC40A1435}"/>
              </a:ext>
            </a:extLst>
          </p:cNvPr>
          <p:cNvGrpSpPr/>
          <p:nvPr userDrawn="1"/>
        </p:nvGrpSpPr>
        <p:grpSpPr>
          <a:xfrm>
            <a:off x="12360749" y="29207"/>
            <a:ext cx="2927291" cy="2954277"/>
            <a:chOff x="290478" y="1208088"/>
            <a:chExt cx="2889602" cy="2916241"/>
          </a:xfrm>
        </p:grpSpPr>
        <p:grpSp>
          <p:nvGrpSpPr>
            <p:cNvPr id="10" name="Gruppieren 9">
              <a:extLst>
                <a:ext uri="{FF2B5EF4-FFF2-40B4-BE49-F238E27FC236}">
                  <a16:creationId xmlns:a16="http://schemas.microsoft.com/office/drawing/2014/main" id="{166CE0C7-0106-4995-A743-3DD8602E5AD7}"/>
                </a:ext>
              </a:extLst>
            </p:cNvPr>
            <p:cNvGrpSpPr/>
            <p:nvPr/>
          </p:nvGrpSpPr>
          <p:grpSpPr>
            <a:xfrm>
              <a:off x="321287" y="1208088"/>
              <a:ext cx="2532974" cy="798720"/>
              <a:chOff x="321287" y="1208088"/>
              <a:chExt cx="2532974" cy="798720"/>
            </a:xfrm>
          </p:grpSpPr>
          <p:sp>
            <p:nvSpPr>
              <p:cNvPr id="59" name="Rechteck 58">
                <a:extLst>
                  <a:ext uri="{FF2B5EF4-FFF2-40B4-BE49-F238E27FC236}">
                    <a16:creationId xmlns:a16="http://schemas.microsoft.com/office/drawing/2014/main" id="{56F58F9E-DAFA-4AB9-BF60-5779AF409F67}"/>
                  </a:ext>
                </a:extLst>
              </p:cNvPr>
              <p:cNvSpPr/>
              <p:nvPr/>
            </p:nvSpPr>
            <p:spPr>
              <a:xfrm>
                <a:off x="321287" y="1208088"/>
                <a:ext cx="252000" cy="252000"/>
              </a:xfrm>
              <a:prstGeom prst="rect">
                <a:avLst/>
              </a:prstGeom>
              <a:solidFill>
                <a:srgbClr val="66B2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0" name="Rechteck 59">
                <a:extLst>
                  <a:ext uri="{FF2B5EF4-FFF2-40B4-BE49-F238E27FC236}">
                    <a16:creationId xmlns:a16="http://schemas.microsoft.com/office/drawing/2014/main" id="{258079EC-833B-4866-B2E4-D53EB160687F}"/>
                  </a:ext>
                </a:extLst>
              </p:cNvPr>
              <p:cNvSpPr/>
              <p:nvPr/>
            </p:nvSpPr>
            <p:spPr>
              <a:xfrm>
                <a:off x="606409" y="1208088"/>
                <a:ext cx="252000" cy="252000"/>
              </a:xfrm>
              <a:prstGeom prst="rect">
                <a:avLst/>
              </a:prstGeom>
              <a:solidFill>
                <a:srgbClr val="75D1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1" name="Rechteck 60">
                <a:extLst>
                  <a:ext uri="{FF2B5EF4-FFF2-40B4-BE49-F238E27FC236}">
                    <a16:creationId xmlns:a16="http://schemas.microsoft.com/office/drawing/2014/main" id="{61134C4D-372B-43BC-A0C0-3F7C20563FA0}"/>
                  </a:ext>
                </a:extLst>
              </p:cNvPr>
              <p:cNvSpPr/>
              <p:nvPr/>
            </p:nvSpPr>
            <p:spPr>
              <a:xfrm>
                <a:off x="891531" y="1208088"/>
                <a:ext cx="252000" cy="252000"/>
              </a:xfrm>
              <a:prstGeom prst="rect">
                <a:avLst/>
              </a:prstGeom>
              <a:solidFill>
                <a:srgbClr val="365A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2" name="Rechteck 61">
                <a:extLst>
                  <a:ext uri="{FF2B5EF4-FFF2-40B4-BE49-F238E27FC236}">
                    <a16:creationId xmlns:a16="http://schemas.microsoft.com/office/drawing/2014/main" id="{E974FCE2-0AEE-4686-9E83-FD8B67AD1302}"/>
                  </a:ext>
                </a:extLst>
              </p:cNvPr>
              <p:cNvSpPr/>
              <p:nvPr/>
            </p:nvSpPr>
            <p:spPr>
              <a:xfrm>
                <a:off x="1176653" y="1208088"/>
                <a:ext cx="252000" cy="252000"/>
              </a:xfrm>
              <a:prstGeom prst="rect">
                <a:avLst/>
              </a:prstGeom>
              <a:solidFill>
                <a:srgbClr val="A2C5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3" name="Rechteck 62">
                <a:extLst>
                  <a:ext uri="{FF2B5EF4-FFF2-40B4-BE49-F238E27FC236}">
                    <a16:creationId xmlns:a16="http://schemas.microsoft.com/office/drawing/2014/main" id="{9DADAD59-B588-4158-9C8A-FB5F1B109FDE}"/>
                  </a:ext>
                </a:extLst>
              </p:cNvPr>
              <p:cNvSpPr/>
              <p:nvPr/>
            </p:nvSpPr>
            <p:spPr>
              <a:xfrm>
                <a:off x="1461775" y="1208088"/>
                <a:ext cx="252000" cy="252000"/>
              </a:xfrm>
              <a:prstGeom prst="rect">
                <a:avLst/>
              </a:prstGeom>
              <a:solidFill>
                <a:srgbClr val="627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4" name="Rechteck 63">
                <a:extLst>
                  <a:ext uri="{FF2B5EF4-FFF2-40B4-BE49-F238E27FC236}">
                    <a16:creationId xmlns:a16="http://schemas.microsoft.com/office/drawing/2014/main" id="{19A1D1C9-14B1-4AAE-8639-3F0A1B1A8FD5}"/>
                  </a:ext>
                </a:extLst>
              </p:cNvPr>
              <p:cNvSpPr/>
              <p:nvPr/>
            </p:nvSpPr>
            <p:spPr>
              <a:xfrm>
                <a:off x="1746897" y="1208088"/>
                <a:ext cx="252000" cy="252000"/>
              </a:xfrm>
              <a:prstGeom prst="rect">
                <a:avLst/>
              </a:prstGeom>
              <a:solidFill>
                <a:srgbClr val="A1C0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5" name="Rechteck 64">
                <a:extLst>
                  <a:ext uri="{FF2B5EF4-FFF2-40B4-BE49-F238E27FC236}">
                    <a16:creationId xmlns:a16="http://schemas.microsoft.com/office/drawing/2014/main" id="{103F0160-4932-4F68-BA91-01BA14B2CE4D}"/>
                  </a:ext>
                </a:extLst>
              </p:cNvPr>
              <p:cNvSpPr/>
              <p:nvPr/>
            </p:nvSpPr>
            <p:spPr>
              <a:xfrm>
                <a:off x="2032019" y="1208088"/>
                <a:ext cx="252000" cy="252000"/>
              </a:xfrm>
              <a:prstGeom prst="rect">
                <a:avLst/>
              </a:prstGeom>
              <a:solidFill>
                <a:srgbClr val="87D8D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6" name="Rechteck 65">
                <a:extLst>
                  <a:ext uri="{FF2B5EF4-FFF2-40B4-BE49-F238E27FC236}">
                    <a16:creationId xmlns:a16="http://schemas.microsoft.com/office/drawing/2014/main" id="{B28237FB-FE12-47AD-BFE9-62C417826092}"/>
                  </a:ext>
                </a:extLst>
              </p:cNvPr>
              <p:cNvSpPr/>
              <p:nvPr/>
            </p:nvSpPr>
            <p:spPr>
              <a:xfrm>
                <a:off x="2317141" y="1208088"/>
                <a:ext cx="252000" cy="252000"/>
              </a:xfrm>
              <a:prstGeom prst="rect">
                <a:avLst/>
              </a:prstGeom>
              <a:solidFill>
                <a:srgbClr val="59BB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7" name="Rechteck 66">
                <a:extLst>
                  <a:ext uri="{FF2B5EF4-FFF2-40B4-BE49-F238E27FC236}">
                    <a16:creationId xmlns:a16="http://schemas.microsoft.com/office/drawing/2014/main" id="{695497DB-88B2-4EDE-B0FD-7E320675B922}"/>
                  </a:ext>
                </a:extLst>
              </p:cNvPr>
              <p:cNvSpPr/>
              <p:nvPr/>
            </p:nvSpPr>
            <p:spPr>
              <a:xfrm>
                <a:off x="2602261" y="1208088"/>
                <a:ext cx="252000" cy="252000"/>
              </a:xfrm>
              <a:prstGeom prst="rect">
                <a:avLst/>
              </a:prstGeom>
              <a:solidFill>
                <a:srgbClr val="92C8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8" name="Rechteck 67">
                <a:extLst>
                  <a:ext uri="{FF2B5EF4-FFF2-40B4-BE49-F238E27FC236}">
                    <a16:creationId xmlns:a16="http://schemas.microsoft.com/office/drawing/2014/main" id="{AEAAD21B-140F-4DE9-9D79-C5A1C26B6B0B}"/>
                  </a:ext>
                </a:extLst>
              </p:cNvPr>
              <p:cNvSpPr/>
              <p:nvPr/>
            </p:nvSpPr>
            <p:spPr>
              <a:xfrm>
                <a:off x="321287" y="1481448"/>
                <a:ext cx="252000" cy="252000"/>
              </a:xfrm>
              <a:prstGeom prst="rect">
                <a:avLst/>
              </a:prstGeom>
              <a:solidFill>
                <a:srgbClr val="007F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69" name="Rechteck 68">
                <a:extLst>
                  <a:ext uri="{FF2B5EF4-FFF2-40B4-BE49-F238E27FC236}">
                    <a16:creationId xmlns:a16="http://schemas.microsoft.com/office/drawing/2014/main" id="{6B8C0940-8D5C-4000-9DB8-4D253FD1E53C}"/>
                  </a:ext>
                </a:extLst>
              </p:cNvPr>
              <p:cNvSpPr/>
              <p:nvPr/>
            </p:nvSpPr>
            <p:spPr>
              <a:xfrm>
                <a:off x="606409" y="1481448"/>
                <a:ext cx="252000" cy="252000"/>
              </a:xfrm>
              <a:prstGeom prst="rect">
                <a:avLst/>
              </a:prstGeom>
              <a:solidFill>
                <a:srgbClr val="00B4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0" name="Rechteck 69">
                <a:extLst>
                  <a:ext uri="{FF2B5EF4-FFF2-40B4-BE49-F238E27FC236}">
                    <a16:creationId xmlns:a16="http://schemas.microsoft.com/office/drawing/2014/main" id="{C90CB7CB-1920-429E-876A-384EFE48840A}"/>
                  </a:ext>
                </a:extLst>
              </p:cNvPr>
              <p:cNvSpPr/>
              <p:nvPr/>
            </p:nvSpPr>
            <p:spPr>
              <a:xfrm>
                <a:off x="891531" y="1481448"/>
                <a:ext cx="252000" cy="252000"/>
              </a:xfrm>
              <a:prstGeom prst="rect">
                <a:avLst/>
              </a:prstGeom>
              <a:solidFill>
                <a:srgbClr val="04315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1" name="Rechteck 70">
                <a:extLst>
                  <a:ext uri="{FF2B5EF4-FFF2-40B4-BE49-F238E27FC236}">
                    <a16:creationId xmlns:a16="http://schemas.microsoft.com/office/drawing/2014/main" id="{647DB263-91FD-4537-A549-D98E29D8BF7E}"/>
                  </a:ext>
                </a:extLst>
              </p:cNvPr>
              <p:cNvSpPr/>
              <p:nvPr/>
            </p:nvSpPr>
            <p:spPr>
              <a:xfrm>
                <a:off x="1176653" y="1481448"/>
                <a:ext cx="252000" cy="252000"/>
              </a:xfrm>
              <a:prstGeom prst="rect">
                <a:avLst/>
              </a:prstGeom>
              <a:solidFill>
                <a:srgbClr val="7FA1B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2" name="Rechteck 71">
                <a:extLst>
                  <a:ext uri="{FF2B5EF4-FFF2-40B4-BE49-F238E27FC236}">
                    <a16:creationId xmlns:a16="http://schemas.microsoft.com/office/drawing/2014/main" id="{32C6D97D-6073-4CB0-AE92-8FD155DE2DAE}"/>
                  </a:ext>
                </a:extLst>
              </p:cNvPr>
              <p:cNvSpPr/>
              <p:nvPr/>
            </p:nvSpPr>
            <p:spPr>
              <a:xfrm>
                <a:off x="1461775" y="1481448"/>
                <a:ext cx="252000" cy="252000"/>
              </a:xfrm>
              <a:prstGeom prst="rect">
                <a:avLst/>
              </a:prstGeom>
              <a:solidFill>
                <a:srgbClr val="43536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3" name="Rechteck 72">
                <a:extLst>
                  <a:ext uri="{FF2B5EF4-FFF2-40B4-BE49-F238E27FC236}">
                    <a16:creationId xmlns:a16="http://schemas.microsoft.com/office/drawing/2014/main" id="{53D015E2-3E32-49E5-BCAE-78C1CB19E5F3}"/>
                  </a:ext>
                </a:extLst>
              </p:cNvPr>
              <p:cNvSpPr/>
              <p:nvPr/>
            </p:nvSpPr>
            <p:spPr>
              <a:xfrm>
                <a:off x="1746897" y="1481448"/>
                <a:ext cx="252000" cy="252000"/>
              </a:xfrm>
              <a:prstGeom prst="rect">
                <a:avLst/>
              </a:prstGeom>
              <a:solidFill>
                <a:srgbClr val="6F9E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4" name="Rechteck 73">
                <a:extLst>
                  <a:ext uri="{FF2B5EF4-FFF2-40B4-BE49-F238E27FC236}">
                    <a16:creationId xmlns:a16="http://schemas.microsoft.com/office/drawing/2014/main" id="{40AE934F-6757-4AF9-9053-41A1E6D0B04B}"/>
                  </a:ext>
                </a:extLst>
              </p:cNvPr>
              <p:cNvSpPr/>
              <p:nvPr/>
            </p:nvSpPr>
            <p:spPr>
              <a:xfrm>
                <a:off x="2032019" y="1481448"/>
                <a:ext cx="252000" cy="252000"/>
              </a:xfrm>
              <a:prstGeom prst="rect">
                <a:avLst/>
              </a:prstGeom>
              <a:solidFill>
                <a:srgbClr val="26B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5" name="Rechteck 74">
                <a:extLst>
                  <a:ext uri="{FF2B5EF4-FFF2-40B4-BE49-F238E27FC236}">
                    <a16:creationId xmlns:a16="http://schemas.microsoft.com/office/drawing/2014/main" id="{5231FBC7-36DE-4676-9B69-D9022A40C8FB}"/>
                  </a:ext>
                </a:extLst>
              </p:cNvPr>
              <p:cNvSpPr/>
              <p:nvPr/>
            </p:nvSpPr>
            <p:spPr>
              <a:xfrm>
                <a:off x="2317141" y="1481448"/>
                <a:ext cx="252000" cy="252000"/>
              </a:xfrm>
              <a:prstGeom prst="rect">
                <a:avLst/>
              </a:prstGeom>
              <a:solidFill>
                <a:srgbClr val="00975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6" name="Rechteck 75">
                <a:extLst>
                  <a:ext uri="{FF2B5EF4-FFF2-40B4-BE49-F238E27FC236}">
                    <a16:creationId xmlns:a16="http://schemas.microsoft.com/office/drawing/2014/main" id="{610CF58B-BED0-4A2E-8996-E77C72562CCD}"/>
                  </a:ext>
                </a:extLst>
              </p:cNvPr>
              <p:cNvSpPr/>
              <p:nvPr/>
            </p:nvSpPr>
            <p:spPr>
              <a:xfrm>
                <a:off x="2602261" y="1481448"/>
                <a:ext cx="252000" cy="252000"/>
              </a:xfrm>
              <a:prstGeom prst="rect">
                <a:avLst/>
              </a:prstGeom>
              <a:solidFill>
                <a:srgbClr val="57AB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7" name="Rechteck 76">
                <a:extLst>
                  <a:ext uri="{FF2B5EF4-FFF2-40B4-BE49-F238E27FC236}">
                    <a16:creationId xmlns:a16="http://schemas.microsoft.com/office/drawing/2014/main" id="{20649D4B-BC98-48CD-B055-6FFDE2AAC85D}"/>
                  </a:ext>
                </a:extLst>
              </p:cNvPr>
              <p:cNvSpPr/>
              <p:nvPr/>
            </p:nvSpPr>
            <p:spPr>
              <a:xfrm>
                <a:off x="321287" y="1754808"/>
                <a:ext cx="252000" cy="252000"/>
              </a:xfrm>
              <a:prstGeom prst="rect">
                <a:avLst/>
              </a:prstGeom>
              <a:solidFill>
                <a:srgbClr val="0062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8" name="Rechteck 77">
                <a:extLst>
                  <a:ext uri="{FF2B5EF4-FFF2-40B4-BE49-F238E27FC236}">
                    <a16:creationId xmlns:a16="http://schemas.microsoft.com/office/drawing/2014/main" id="{5C06A820-E57E-4311-9799-3628A6286F51}"/>
                  </a:ext>
                </a:extLst>
              </p:cNvPr>
              <p:cNvSpPr/>
              <p:nvPr/>
            </p:nvSpPr>
            <p:spPr>
              <a:xfrm>
                <a:off x="606409" y="1754808"/>
                <a:ext cx="252000" cy="252000"/>
              </a:xfrm>
              <a:prstGeom prst="rect">
                <a:avLst/>
              </a:prstGeom>
              <a:solidFill>
                <a:srgbClr val="10819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79" name="Rechteck 78">
                <a:extLst>
                  <a:ext uri="{FF2B5EF4-FFF2-40B4-BE49-F238E27FC236}">
                    <a16:creationId xmlns:a16="http://schemas.microsoft.com/office/drawing/2014/main" id="{DEF4A74A-1FE2-4343-8C67-275012860BEE}"/>
                  </a:ext>
                </a:extLst>
              </p:cNvPr>
              <p:cNvSpPr/>
              <p:nvPr/>
            </p:nvSpPr>
            <p:spPr>
              <a:xfrm>
                <a:off x="891531" y="1754808"/>
                <a:ext cx="252000" cy="252000"/>
              </a:xfrm>
              <a:prstGeom prst="rect">
                <a:avLst/>
              </a:prstGeom>
              <a:solidFill>
                <a:srgbClr val="021D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0" name="Rechteck 79">
                <a:extLst>
                  <a:ext uri="{FF2B5EF4-FFF2-40B4-BE49-F238E27FC236}">
                    <a16:creationId xmlns:a16="http://schemas.microsoft.com/office/drawing/2014/main" id="{DDD9CA99-5B2D-4993-9874-08557C41FA64}"/>
                  </a:ext>
                </a:extLst>
              </p:cNvPr>
              <p:cNvSpPr/>
              <p:nvPr/>
            </p:nvSpPr>
            <p:spPr>
              <a:xfrm>
                <a:off x="1176653" y="1754808"/>
                <a:ext cx="252000" cy="252000"/>
              </a:xfrm>
              <a:prstGeom prst="rect">
                <a:avLst/>
              </a:prstGeom>
              <a:solidFill>
                <a:srgbClr val="60798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1" name="Rechteck 80">
                <a:extLst>
                  <a:ext uri="{FF2B5EF4-FFF2-40B4-BE49-F238E27FC236}">
                    <a16:creationId xmlns:a16="http://schemas.microsoft.com/office/drawing/2014/main" id="{48140472-1E67-40A1-A8FA-F5AAC38B7C41}"/>
                  </a:ext>
                </a:extLst>
              </p:cNvPr>
              <p:cNvSpPr/>
              <p:nvPr/>
            </p:nvSpPr>
            <p:spPr>
              <a:xfrm>
                <a:off x="1461775" y="1754808"/>
                <a:ext cx="252000" cy="252000"/>
              </a:xfrm>
              <a:prstGeom prst="rect">
                <a:avLst/>
              </a:prstGeom>
              <a:solidFill>
                <a:srgbClr val="2C36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2" name="Rechteck 81">
                <a:extLst>
                  <a:ext uri="{FF2B5EF4-FFF2-40B4-BE49-F238E27FC236}">
                    <a16:creationId xmlns:a16="http://schemas.microsoft.com/office/drawing/2014/main" id="{F57A4141-FFAD-4B4F-AFB5-8BD1C63B4EA4}"/>
                  </a:ext>
                </a:extLst>
              </p:cNvPr>
              <p:cNvSpPr/>
              <p:nvPr/>
            </p:nvSpPr>
            <p:spPr>
              <a:xfrm>
                <a:off x="1746897" y="1754808"/>
                <a:ext cx="252000" cy="252000"/>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3" name="Rechteck 82">
                <a:extLst>
                  <a:ext uri="{FF2B5EF4-FFF2-40B4-BE49-F238E27FC236}">
                    <a16:creationId xmlns:a16="http://schemas.microsoft.com/office/drawing/2014/main" id="{F1C1753E-6FFD-400E-998E-D6C127C516D0}"/>
                  </a:ext>
                </a:extLst>
              </p:cNvPr>
              <p:cNvSpPr/>
              <p:nvPr/>
            </p:nvSpPr>
            <p:spPr>
              <a:xfrm>
                <a:off x="2032019" y="1754808"/>
                <a:ext cx="252000" cy="252000"/>
              </a:xfrm>
              <a:prstGeom prst="rect">
                <a:avLst/>
              </a:prstGeom>
              <a:solidFill>
                <a:srgbClr val="1E93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4" name="Rechteck 83">
                <a:extLst>
                  <a:ext uri="{FF2B5EF4-FFF2-40B4-BE49-F238E27FC236}">
                    <a16:creationId xmlns:a16="http://schemas.microsoft.com/office/drawing/2014/main" id="{3A002898-AFC6-4789-A011-244958B91A49}"/>
                  </a:ext>
                </a:extLst>
              </p:cNvPr>
              <p:cNvSpPr/>
              <p:nvPr/>
            </p:nvSpPr>
            <p:spPr>
              <a:xfrm>
                <a:off x="2317141" y="1754808"/>
                <a:ext cx="252000" cy="252000"/>
              </a:xfrm>
              <a:prstGeom prst="rect">
                <a:avLst/>
              </a:prstGeom>
              <a:solidFill>
                <a:srgbClr val="00724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85" name="Rechteck 84">
                <a:extLst>
                  <a:ext uri="{FF2B5EF4-FFF2-40B4-BE49-F238E27FC236}">
                    <a16:creationId xmlns:a16="http://schemas.microsoft.com/office/drawing/2014/main" id="{13DEEDBA-BA25-4104-A259-22CFA87E9B41}"/>
                  </a:ext>
                </a:extLst>
              </p:cNvPr>
              <p:cNvSpPr/>
              <p:nvPr/>
            </p:nvSpPr>
            <p:spPr>
              <a:xfrm>
                <a:off x="2602261" y="1754808"/>
                <a:ext cx="252000" cy="252000"/>
              </a:xfrm>
              <a:prstGeom prst="rect">
                <a:avLst/>
              </a:prstGeom>
              <a:solidFill>
                <a:srgbClr val="42811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grpSp>
        <p:grpSp>
          <p:nvGrpSpPr>
            <p:cNvPr id="11" name="Gruppieren 10">
              <a:extLst>
                <a:ext uri="{FF2B5EF4-FFF2-40B4-BE49-F238E27FC236}">
                  <a16:creationId xmlns:a16="http://schemas.microsoft.com/office/drawing/2014/main" id="{D1BBD5C3-8728-4CDB-989D-CDEE7172E582}"/>
                </a:ext>
              </a:extLst>
            </p:cNvPr>
            <p:cNvGrpSpPr/>
            <p:nvPr/>
          </p:nvGrpSpPr>
          <p:grpSpPr>
            <a:xfrm>
              <a:off x="321287" y="2130168"/>
              <a:ext cx="2818094" cy="798720"/>
              <a:chOff x="321287" y="2321019"/>
              <a:chExt cx="2818094" cy="798720"/>
            </a:xfrm>
          </p:grpSpPr>
          <p:sp>
            <p:nvSpPr>
              <p:cNvPr id="29" name="Rechteck 28">
                <a:extLst>
                  <a:ext uri="{FF2B5EF4-FFF2-40B4-BE49-F238E27FC236}">
                    <a16:creationId xmlns:a16="http://schemas.microsoft.com/office/drawing/2014/main" id="{99F3A5B4-6C5E-43C6-8B26-56EC2755F983}"/>
                  </a:ext>
                </a:extLst>
              </p:cNvPr>
              <p:cNvSpPr/>
              <p:nvPr/>
            </p:nvSpPr>
            <p:spPr>
              <a:xfrm>
                <a:off x="321287" y="2321019"/>
                <a:ext cx="252000" cy="252000"/>
              </a:xfrm>
              <a:prstGeom prst="rect">
                <a:avLst/>
              </a:prstGeom>
              <a:solidFill>
                <a:srgbClr val="FFF57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0" name="Rechteck 29">
                <a:extLst>
                  <a:ext uri="{FF2B5EF4-FFF2-40B4-BE49-F238E27FC236}">
                    <a16:creationId xmlns:a16="http://schemas.microsoft.com/office/drawing/2014/main" id="{5A838D9C-FD74-4DA2-AF2F-3A8F9BDB8BD7}"/>
                  </a:ext>
                </a:extLst>
              </p:cNvPr>
              <p:cNvSpPr/>
              <p:nvPr/>
            </p:nvSpPr>
            <p:spPr>
              <a:xfrm>
                <a:off x="606409" y="2321019"/>
                <a:ext cx="252000" cy="252000"/>
              </a:xfrm>
              <a:prstGeom prst="rect">
                <a:avLst/>
              </a:prstGeom>
              <a:solidFill>
                <a:srgbClr val="FEAA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1" name="Rechteck 30">
                <a:extLst>
                  <a:ext uri="{FF2B5EF4-FFF2-40B4-BE49-F238E27FC236}">
                    <a16:creationId xmlns:a16="http://schemas.microsoft.com/office/drawing/2014/main" id="{A628B2BB-F1D9-413D-B2C5-415D173F703B}"/>
                  </a:ext>
                </a:extLst>
              </p:cNvPr>
              <p:cNvSpPr/>
              <p:nvPr/>
            </p:nvSpPr>
            <p:spPr>
              <a:xfrm>
                <a:off x="891531" y="2321019"/>
                <a:ext cx="252000" cy="252000"/>
              </a:xfrm>
              <a:prstGeom prst="rect">
                <a:avLst/>
              </a:prstGeom>
              <a:solidFill>
                <a:srgbClr val="FF74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2" name="Rechteck 31">
                <a:extLst>
                  <a:ext uri="{FF2B5EF4-FFF2-40B4-BE49-F238E27FC236}">
                    <a16:creationId xmlns:a16="http://schemas.microsoft.com/office/drawing/2014/main" id="{912A5795-3D46-4F59-A121-A3CBA313F064}"/>
                  </a:ext>
                </a:extLst>
              </p:cNvPr>
              <p:cNvSpPr/>
              <p:nvPr/>
            </p:nvSpPr>
            <p:spPr>
              <a:xfrm>
                <a:off x="1176653" y="2321019"/>
                <a:ext cx="252000" cy="252000"/>
              </a:xfrm>
              <a:prstGeom prst="rect">
                <a:avLst/>
              </a:prstGeom>
              <a:solidFill>
                <a:srgbClr val="3373F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3" name="Rechteck 32">
                <a:extLst>
                  <a:ext uri="{FF2B5EF4-FFF2-40B4-BE49-F238E27FC236}">
                    <a16:creationId xmlns:a16="http://schemas.microsoft.com/office/drawing/2014/main" id="{7CB30AB7-4799-42D5-836C-40A1970B86C0}"/>
                  </a:ext>
                </a:extLst>
              </p:cNvPr>
              <p:cNvSpPr/>
              <p:nvPr/>
            </p:nvSpPr>
            <p:spPr>
              <a:xfrm>
                <a:off x="1461775" y="2321019"/>
                <a:ext cx="252000" cy="252000"/>
              </a:xfrm>
              <a:prstGeom prst="rect">
                <a:avLst/>
              </a:prstGeom>
              <a:solidFill>
                <a:srgbClr val="5999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4" name="Rechteck 33">
                <a:extLst>
                  <a:ext uri="{FF2B5EF4-FFF2-40B4-BE49-F238E27FC236}">
                    <a16:creationId xmlns:a16="http://schemas.microsoft.com/office/drawing/2014/main" id="{2C2E4AE5-5E67-4A41-9074-8E5574340F1E}"/>
                  </a:ext>
                </a:extLst>
              </p:cNvPr>
              <p:cNvSpPr/>
              <p:nvPr/>
            </p:nvSpPr>
            <p:spPr>
              <a:xfrm>
                <a:off x="1746897" y="2321019"/>
                <a:ext cx="252000" cy="252000"/>
              </a:xfrm>
              <a:prstGeom prst="rect">
                <a:avLst/>
              </a:prstGeom>
              <a:solidFill>
                <a:srgbClr val="A1C0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5" name="Rechteck 34">
                <a:extLst>
                  <a:ext uri="{FF2B5EF4-FFF2-40B4-BE49-F238E27FC236}">
                    <a16:creationId xmlns:a16="http://schemas.microsoft.com/office/drawing/2014/main" id="{72012904-A779-41C2-B38F-0F9FA7EA02B5}"/>
                  </a:ext>
                </a:extLst>
              </p:cNvPr>
              <p:cNvSpPr/>
              <p:nvPr/>
            </p:nvSpPr>
            <p:spPr>
              <a:xfrm>
                <a:off x="2032019" y="2321019"/>
                <a:ext cx="252000" cy="252000"/>
              </a:xfrm>
              <a:prstGeom prst="rect">
                <a:avLst/>
              </a:prstGeom>
              <a:solidFill>
                <a:srgbClr val="72EF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6" name="Rechteck 35">
                <a:extLst>
                  <a:ext uri="{FF2B5EF4-FFF2-40B4-BE49-F238E27FC236}">
                    <a16:creationId xmlns:a16="http://schemas.microsoft.com/office/drawing/2014/main" id="{102E8E0F-97E5-4A51-AD50-808D6A6FD139}"/>
                  </a:ext>
                </a:extLst>
              </p:cNvPr>
              <p:cNvSpPr/>
              <p:nvPr/>
            </p:nvSpPr>
            <p:spPr>
              <a:xfrm>
                <a:off x="2317141" y="2321019"/>
                <a:ext cx="252000" cy="252000"/>
              </a:xfrm>
              <a:prstGeom prst="rect">
                <a:avLst/>
              </a:prstGeom>
              <a:solidFill>
                <a:srgbClr val="EE667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7" name="Rechteck 36">
                <a:extLst>
                  <a:ext uri="{FF2B5EF4-FFF2-40B4-BE49-F238E27FC236}">
                    <a16:creationId xmlns:a16="http://schemas.microsoft.com/office/drawing/2014/main" id="{6115AEEF-D650-4663-B1B4-52C28C700BA4}"/>
                  </a:ext>
                </a:extLst>
              </p:cNvPr>
              <p:cNvSpPr/>
              <p:nvPr/>
            </p:nvSpPr>
            <p:spPr>
              <a:xfrm>
                <a:off x="2602263" y="2321019"/>
                <a:ext cx="252000" cy="252000"/>
              </a:xfrm>
              <a:prstGeom prst="rect">
                <a:avLst/>
              </a:prstGeom>
              <a:solidFill>
                <a:srgbClr val="F87F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8" name="Rechteck 37">
                <a:extLst>
                  <a:ext uri="{FF2B5EF4-FFF2-40B4-BE49-F238E27FC236}">
                    <a16:creationId xmlns:a16="http://schemas.microsoft.com/office/drawing/2014/main" id="{C62D390A-101E-4DF5-B3CD-51235654CCEE}"/>
                  </a:ext>
                </a:extLst>
              </p:cNvPr>
              <p:cNvSpPr/>
              <p:nvPr/>
            </p:nvSpPr>
            <p:spPr>
              <a:xfrm>
                <a:off x="2887381" y="2321019"/>
                <a:ext cx="252000" cy="252000"/>
              </a:xfrm>
              <a:prstGeom prst="rect">
                <a:avLst/>
              </a:prstGeom>
              <a:solidFill>
                <a:srgbClr val="BE70B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39" name="Rechteck 38">
                <a:extLst>
                  <a:ext uri="{FF2B5EF4-FFF2-40B4-BE49-F238E27FC236}">
                    <a16:creationId xmlns:a16="http://schemas.microsoft.com/office/drawing/2014/main" id="{56C3592A-FE01-4706-B729-95E3EEBA390D}"/>
                  </a:ext>
                </a:extLst>
              </p:cNvPr>
              <p:cNvSpPr/>
              <p:nvPr/>
            </p:nvSpPr>
            <p:spPr>
              <a:xfrm>
                <a:off x="321287" y="2594379"/>
                <a:ext cx="252000" cy="252000"/>
              </a:xfrm>
              <a:prstGeom prst="rect">
                <a:avLst/>
              </a:prstGeom>
              <a:solidFill>
                <a:srgbClr val="E1E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0" name="Rechteck 39">
                <a:extLst>
                  <a:ext uri="{FF2B5EF4-FFF2-40B4-BE49-F238E27FC236}">
                    <a16:creationId xmlns:a16="http://schemas.microsoft.com/office/drawing/2014/main" id="{519A89C8-29F5-4DAF-868F-4E062505D9A2}"/>
                  </a:ext>
                </a:extLst>
              </p:cNvPr>
              <p:cNvSpPr/>
              <p:nvPr/>
            </p:nvSpPr>
            <p:spPr>
              <a:xfrm>
                <a:off x="606409" y="2594379"/>
                <a:ext cx="252000" cy="252000"/>
              </a:xfrm>
              <a:prstGeom prst="rect">
                <a:avLst/>
              </a:prstGeom>
              <a:solidFill>
                <a:srgbClr val="FF8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1" name="Rechteck 40">
                <a:extLst>
                  <a:ext uri="{FF2B5EF4-FFF2-40B4-BE49-F238E27FC236}">
                    <a16:creationId xmlns:a16="http://schemas.microsoft.com/office/drawing/2014/main" id="{E331CE46-AFB8-4521-AC6C-1A3214E8C684}"/>
                  </a:ext>
                </a:extLst>
              </p:cNvPr>
              <p:cNvSpPr/>
              <p:nvPr/>
            </p:nvSpPr>
            <p:spPr>
              <a:xfrm>
                <a:off x="891531" y="2594379"/>
                <a:ext cx="252000" cy="252000"/>
              </a:xfrm>
              <a:prstGeom prst="rect">
                <a:avLst/>
              </a:prstGeom>
              <a:solidFill>
                <a:srgbClr val="FF3C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2" name="Rechteck 41">
                <a:extLst>
                  <a:ext uri="{FF2B5EF4-FFF2-40B4-BE49-F238E27FC236}">
                    <a16:creationId xmlns:a16="http://schemas.microsoft.com/office/drawing/2014/main" id="{C074E197-6AEA-4938-A7C4-2FB30AF10DB1}"/>
                  </a:ext>
                </a:extLst>
              </p:cNvPr>
              <p:cNvSpPr/>
              <p:nvPr/>
            </p:nvSpPr>
            <p:spPr>
              <a:xfrm>
                <a:off x="1176653" y="2594379"/>
                <a:ext cx="252000" cy="252000"/>
              </a:xfrm>
              <a:prstGeom prst="rect">
                <a:avLst/>
              </a:prstGeom>
              <a:solidFill>
                <a:srgbClr val="3300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3" name="Rechteck 42">
                <a:extLst>
                  <a:ext uri="{FF2B5EF4-FFF2-40B4-BE49-F238E27FC236}">
                    <a16:creationId xmlns:a16="http://schemas.microsoft.com/office/drawing/2014/main" id="{452432C0-A8AB-4CE5-8E07-F12B584B4F31}"/>
                  </a:ext>
                </a:extLst>
              </p:cNvPr>
              <p:cNvSpPr/>
              <p:nvPr/>
            </p:nvSpPr>
            <p:spPr>
              <a:xfrm>
                <a:off x="1461775" y="2594379"/>
                <a:ext cx="252000" cy="252000"/>
              </a:xfrm>
              <a:prstGeom prst="rect">
                <a:avLst/>
              </a:prstGeom>
              <a:solidFill>
                <a:srgbClr val="0066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4" name="Rechteck 43">
                <a:extLst>
                  <a:ext uri="{FF2B5EF4-FFF2-40B4-BE49-F238E27FC236}">
                    <a16:creationId xmlns:a16="http://schemas.microsoft.com/office/drawing/2014/main" id="{925AE49E-EC65-4427-B9C5-17A75B4C913F}"/>
                  </a:ext>
                </a:extLst>
              </p:cNvPr>
              <p:cNvSpPr/>
              <p:nvPr/>
            </p:nvSpPr>
            <p:spPr>
              <a:xfrm>
                <a:off x="1746897" y="2594379"/>
                <a:ext cx="252000" cy="252000"/>
              </a:xfrm>
              <a:prstGeom prst="rect">
                <a:avLst/>
              </a:prstGeom>
              <a:solidFill>
                <a:srgbClr val="6F9E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5" name="Rechteck 44">
                <a:extLst>
                  <a:ext uri="{FF2B5EF4-FFF2-40B4-BE49-F238E27FC236}">
                    <a16:creationId xmlns:a16="http://schemas.microsoft.com/office/drawing/2014/main" id="{0477ADB5-1451-43D6-8859-B40FF870617A}"/>
                  </a:ext>
                </a:extLst>
              </p:cNvPr>
              <p:cNvSpPr/>
              <p:nvPr/>
            </p:nvSpPr>
            <p:spPr>
              <a:xfrm>
                <a:off x="2032019" y="2594379"/>
                <a:ext cx="252000" cy="252000"/>
              </a:xfrm>
              <a:prstGeom prst="rect">
                <a:avLst/>
              </a:prstGeom>
              <a:solidFill>
                <a:srgbClr val="00E2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6" name="Rechteck 45">
                <a:extLst>
                  <a:ext uri="{FF2B5EF4-FFF2-40B4-BE49-F238E27FC236}">
                    <a16:creationId xmlns:a16="http://schemas.microsoft.com/office/drawing/2014/main" id="{539E0AD6-6577-436A-BFF1-833F90F624F7}"/>
                  </a:ext>
                </a:extLst>
              </p:cNvPr>
              <p:cNvSpPr/>
              <p:nvPr/>
            </p:nvSpPr>
            <p:spPr>
              <a:xfrm>
                <a:off x="2317141" y="2594379"/>
                <a:ext cx="252000" cy="252000"/>
              </a:xfrm>
              <a:prstGeom prst="rect">
                <a:avLst/>
              </a:prstGeom>
              <a:solidFill>
                <a:srgbClr val="E2001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7" name="Rechteck 46">
                <a:extLst>
                  <a:ext uri="{FF2B5EF4-FFF2-40B4-BE49-F238E27FC236}">
                    <a16:creationId xmlns:a16="http://schemas.microsoft.com/office/drawing/2014/main" id="{12CFD43A-CDE0-440F-89BE-095BEBA09376}"/>
                  </a:ext>
                </a:extLst>
              </p:cNvPr>
              <p:cNvSpPr/>
              <p:nvPr/>
            </p:nvSpPr>
            <p:spPr>
              <a:xfrm>
                <a:off x="2602263" y="2594379"/>
                <a:ext cx="252000" cy="252000"/>
              </a:xfrm>
              <a:prstGeom prst="rect">
                <a:avLst/>
              </a:prstGeom>
              <a:solidFill>
                <a:srgbClr val="F200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8" name="Rechteck 47">
                <a:extLst>
                  <a:ext uri="{FF2B5EF4-FFF2-40B4-BE49-F238E27FC236}">
                    <a16:creationId xmlns:a16="http://schemas.microsoft.com/office/drawing/2014/main" id="{D0C58729-8C01-4251-BE9C-55D3CEB06D42}"/>
                  </a:ext>
                </a:extLst>
              </p:cNvPr>
              <p:cNvSpPr/>
              <p:nvPr/>
            </p:nvSpPr>
            <p:spPr>
              <a:xfrm>
                <a:off x="2887381" y="2594379"/>
                <a:ext cx="252000" cy="252000"/>
              </a:xfrm>
              <a:prstGeom prst="rect">
                <a:avLst/>
              </a:prstGeom>
              <a:solidFill>
                <a:srgbClr val="93117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9" name="Rechteck 48">
                <a:extLst>
                  <a:ext uri="{FF2B5EF4-FFF2-40B4-BE49-F238E27FC236}">
                    <a16:creationId xmlns:a16="http://schemas.microsoft.com/office/drawing/2014/main" id="{9A47F0D7-972A-41DD-85BE-211DAB0616C9}"/>
                  </a:ext>
                </a:extLst>
              </p:cNvPr>
              <p:cNvSpPr/>
              <p:nvPr/>
            </p:nvSpPr>
            <p:spPr>
              <a:xfrm>
                <a:off x="321287" y="2867739"/>
                <a:ext cx="252000" cy="252000"/>
              </a:xfrm>
              <a:prstGeom prst="rect">
                <a:avLst/>
              </a:prstGeom>
              <a:solidFill>
                <a:srgbClr val="FFD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0" name="Rechteck 49">
                <a:extLst>
                  <a:ext uri="{FF2B5EF4-FFF2-40B4-BE49-F238E27FC236}">
                    <a16:creationId xmlns:a16="http://schemas.microsoft.com/office/drawing/2014/main" id="{51D52395-A8C9-419C-8517-ED87E2BCF601}"/>
                  </a:ext>
                </a:extLst>
              </p:cNvPr>
              <p:cNvSpPr/>
              <p:nvPr/>
            </p:nvSpPr>
            <p:spPr>
              <a:xfrm>
                <a:off x="606409" y="2867739"/>
                <a:ext cx="252000" cy="252000"/>
              </a:xfrm>
              <a:prstGeom prst="rect">
                <a:avLst/>
              </a:prstGeom>
              <a:solidFill>
                <a:srgbClr val="E26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1" name="Rechteck 50">
                <a:extLst>
                  <a:ext uri="{FF2B5EF4-FFF2-40B4-BE49-F238E27FC236}">
                    <a16:creationId xmlns:a16="http://schemas.microsoft.com/office/drawing/2014/main" id="{B48422FC-600D-46EC-9CA5-DBAAF121EF28}"/>
                  </a:ext>
                </a:extLst>
              </p:cNvPr>
              <p:cNvSpPr/>
              <p:nvPr/>
            </p:nvSpPr>
            <p:spPr>
              <a:xfrm>
                <a:off x="891531" y="2867739"/>
                <a:ext cx="252000" cy="252000"/>
              </a:xfrm>
              <a:prstGeom prst="rect">
                <a:avLst/>
              </a:prstGeom>
              <a:solidFill>
                <a:srgbClr val="D9360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2" name="Rechteck 51">
                <a:extLst>
                  <a:ext uri="{FF2B5EF4-FFF2-40B4-BE49-F238E27FC236}">
                    <a16:creationId xmlns:a16="http://schemas.microsoft.com/office/drawing/2014/main" id="{748ADFB5-13A1-493B-9544-5890284B3982}"/>
                  </a:ext>
                </a:extLst>
              </p:cNvPr>
              <p:cNvSpPr/>
              <p:nvPr/>
            </p:nvSpPr>
            <p:spPr>
              <a:xfrm>
                <a:off x="1176653" y="2867739"/>
                <a:ext cx="252000" cy="252000"/>
              </a:xfrm>
              <a:prstGeom prst="rect">
                <a:avLst/>
              </a:prstGeom>
              <a:solidFill>
                <a:srgbClr val="2400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3" name="Rechteck 52">
                <a:extLst>
                  <a:ext uri="{FF2B5EF4-FFF2-40B4-BE49-F238E27FC236}">
                    <a16:creationId xmlns:a16="http://schemas.microsoft.com/office/drawing/2014/main" id="{0CC87D30-D4D6-4871-818C-2B4D8E26F527}"/>
                  </a:ext>
                </a:extLst>
              </p:cNvPr>
              <p:cNvSpPr/>
              <p:nvPr/>
            </p:nvSpPr>
            <p:spPr>
              <a:xfrm>
                <a:off x="1461775" y="2867739"/>
                <a:ext cx="252000" cy="252000"/>
              </a:xfrm>
              <a:prstGeom prst="rect">
                <a:avLst/>
              </a:prstGeom>
              <a:solidFill>
                <a:srgbClr val="0048B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4" name="Rechteck 53">
                <a:extLst>
                  <a:ext uri="{FF2B5EF4-FFF2-40B4-BE49-F238E27FC236}">
                    <a16:creationId xmlns:a16="http://schemas.microsoft.com/office/drawing/2014/main" id="{FBD239ED-C1AB-4D37-B549-4EE812D0454F}"/>
                  </a:ext>
                </a:extLst>
              </p:cNvPr>
              <p:cNvSpPr/>
              <p:nvPr/>
            </p:nvSpPr>
            <p:spPr>
              <a:xfrm>
                <a:off x="1746897" y="2867739"/>
                <a:ext cx="252000" cy="252000"/>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5" name="Rechteck 54">
                <a:extLst>
                  <a:ext uri="{FF2B5EF4-FFF2-40B4-BE49-F238E27FC236}">
                    <a16:creationId xmlns:a16="http://schemas.microsoft.com/office/drawing/2014/main" id="{9BD2A094-9A33-406F-84DD-0CE40127D00F}"/>
                  </a:ext>
                </a:extLst>
              </p:cNvPr>
              <p:cNvSpPr/>
              <p:nvPr/>
            </p:nvSpPr>
            <p:spPr>
              <a:xfrm>
                <a:off x="2032019" y="2867739"/>
                <a:ext cx="252000" cy="252000"/>
              </a:xfrm>
              <a:prstGeom prst="rect">
                <a:avLst/>
              </a:prstGeom>
              <a:solidFill>
                <a:srgbClr val="00C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6" name="Rechteck 55">
                <a:extLst>
                  <a:ext uri="{FF2B5EF4-FFF2-40B4-BE49-F238E27FC236}">
                    <a16:creationId xmlns:a16="http://schemas.microsoft.com/office/drawing/2014/main" id="{C847A45A-0335-46A4-9CC9-238E32ACD3A1}"/>
                  </a:ext>
                </a:extLst>
              </p:cNvPr>
              <p:cNvSpPr/>
              <p:nvPr/>
            </p:nvSpPr>
            <p:spPr>
              <a:xfrm>
                <a:off x="2317141" y="2867739"/>
                <a:ext cx="252000" cy="252000"/>
              </a:xfrm>
              <a:prstGeom prst="rect">
                <a:avLst/>
              </a:prstGeom>
              <a:solidFill>
                <a:srgbClr val="B6101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7" name="Rechteck 56">
                <a:extLst>
                  <a:ext uri="{FF2B5EF4-FFF2-40B4-BE49-F238E27FC236}">
                    <a16:creationId xmlns:a16="http://schemas.microsoft.com/office/drawing/2014/main" id="{2708E8B3-9AE4-48F5-9EA1-BB7A6266D347}"/>
                  </a:ext>
                </a:extLst>
              </p:cNvPr>
              <p:cNvSpPr/>
              <p:nvPr/>
            </p:nvSpPr>
            <p:spPr>
              <a:xfrm>
                <a:off x="2602263" y="2867739"/>
                <a:ext cx="252000" cy="252000"/>
              </a:xfrm>
              <a:prstGeom prst="rect">
                <a:avLst/>
              </a:prstGeom>
              <a:solidFill>
                <a:srgbClr val="C200A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8" name="Rechteck 57">
                <a:extLst>
                  <a:ext uri="{FF2B5EF4-FFF2-40B4-BE49-F238E27FC236}">
                    <a16:creationId xmlns:a16="http://schemas.microsoft.com/office/drawing/2014/main" id="{B3BD5BB4-F04C-4DC1-9B82-ABF984E5340C}"/>
                  </a:ext>
                </a:extLst>
              </p:cNvPr>
              <p:cNvSpPr/>
              <p:nvPr/>
            </p:nvSpPr>
            <p:spPr>
              <a:xfrm>
                <a:off x="2887381" y="2867739"/>
                <a:ext cx="252000" cy="252000"/>
              </a:xfrm>
              <a:prstGeom prst="rect">
                <a:avLst/>
              </a:prstGeom>
              <a:solidFill>
                <a:srgbClr val="6E156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grpSp>
        <p:sp>
          <p:nvSpPr>
            <p:cNvPr id="12" name="Rechteck 11">
              <a:extLst>
                <a:ext uri="{FF2B5EF4-FFF2-40B4-BE49-F238E27FC236}">
                  <a16:creationId xmlns:a16="http://schemas.microsoft.com/office/drawing/2014/main" id="{C9EC2744-3560-4F99-BCE3-0567894E4433}"/>
                </a:ext>
              </a:extLst>
            </p:cNvPr>
            <p:cNvSpPr/>
            <p:nvPr/>
          </p:nvSpPr>
          <p:spPr>
            <a:xfrm>
              <a:off x="290478" y="2382168"/>
              <a:ext cx="2889602" cy="29241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3" name="Rechteck 12">
              <a:extLst>
                <a:ext uri="{FF2B5EF4-FFF2-40B4-BE49-F238E27FC236}">
                  <a16:creationId xmlns:a16="http://schemas.microsoft.com/office/drawing/2014/main" id="{C94B26CB-A711-46C2-8D13-D6FA2CE6CA6B}"/>
                </a:ext>
              </a:extLst>
            </p:cNvPr>
            <p:cNvSpPr/>
            <p:nvPr/>
          </p:nvSpPr>
          <p:spPr>
            <a:xfrm>
              <a:off x="290478" y="1461358"/>
              <a:ext cx="2596903" cy="29241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grpSp>
          <p:nvGrpSpPr>
            <p:cNvPr id="14" name="Gruppieren 13">
              <a:extLst>
                <a:ext uri="{FF2B5EF4-FFF2-40B4-BE49-F238E27FC236}">
                  <a16:creationId xmlns:a16="http://schemas.microsoft.com/office/drawing/2014/main" id="{860E2A95-B77B-42E6-9B3B-A23FAB682FF1}"/>
                </a:ext>
              </a:extLst>
            </p:cNvPr>
            <p:cNvGrpSpPr/>
            <p:nvPr/>
          </p:nvGrpSpPr>
          <p:grpSpPr>
            <a:xfrm>
              <a:off x="321287" y="3052249"/>
              <a:ext cx="1107366" cy="1072080"/>
              <a:chOff x="321287" y="3296089"/>
              <a:chExt cx="1107366" cy="1072080"/>
            </a:xfrm>
          </p:grpSpPr>
          <p:sp>
            <p:nvSpPr>
              <p:cNvPr id="15" name="Rechteck 14">
                <a:extLst>
                  <a:ext uri="{FF2B5EF4-FFF2-40B4-BE49-F238E27FC236}">
                    <a16:creationId xmlns:a16="http://schemas.microsoft.com/office/drawing/2014/main" id="{66FEA653-F5C3-4D38-A051-43DBC44E3AA0}"/>
                  </a:ext>
                </a:extLst>
              </p:cNvPr>
              <p:cNvSpPr/>
              <p:nvPr/>
            </p:nvSpPr>
            <p:spPr>
              <a:xfrm>
                <a:off x="606409" y="3296089"/>
                <a:ext cx="252000" cy="252000"/>
              </a:xfrm>
              <a:prstGeom prst="rect">
                <a:avLst/>
              </a:prstGeom>
              <a:solidFill>
                <a:srgbClr val="272B2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6" name="Rechteck 15">
                <a:extLst>
                  <a:ext uri="{FF2B5EF4-FFF2-40B4-BE49-F238E27FC236}">
                    <a16:creationId xmlns:a16="http://schemas.microsoft.com/office/drawing/2014/main" id="{41DE28A9-047B-4985-A789-BAACB96ECB85}"/>
                  </a:ext>
                </a:extLst>
              </p:cNvPr>
              <p:cNvSpPr/>
              <p:nvPr/>
            </p:nvSpPr>
            <p:spPr>
              <a:xfrm>
                <a:off x="606409" y="3569449"/>
                <a:ext cx="252000" cy="252000"/>
              </a:xfrm>
              <a:prstGeom prst="rect">
                <a:avLst/>
              </a:prstGeom>
              <a:solidFill>
                <a:srgbClr val="5D61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7" name="Rechteck 16">
                <a:extLst>
                  <a:ext uri="{FF2B5EF4-FFF2-40B4-BE49-F238E27FC236}">
                    <a16:creationId xmlns:a16="http://schemas.microsoft.com/office/drawing/2014/main" id="{91AD410C-E3FF-470D-AB44-7E0679D67C08}"/>
                  </a:ext>
                </a:extLst>
              </p:cNvPr>
              <p:cNvSpPr/>
              <p:nvPr/>
            </p:nvSpPr>
            <p:spPr>
              <a:xfrm>
                <a:off x="606409" y="3842809"/>
                <a:ext cx="252000" cy="252000"/>
              </a:xfrm>
              <a:prstGeom prst="rect">
                <a:avLst/>
              </a:prstGeom>
              <a:solidFill>
                <a:srgbClr val="C6C7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9" name="Rechteck 18">
                <a:extLst>
                  <a:ext uri="{FF2B5EF4-FFF2-40B4-BE49-F238E27FC236}">
                    <a16:creationId xmlns:a16="http://schemas.microsoft.com/office/drawing/2014/main" id="{F4FD683F-FBD8-4375-8E6E-EEC76EB0587E}"/>
                  </a:ext>
                </a:extLst>
              </p:cNvPr>
              <p:cNvSpPr/>
              <p:nvPr/>
            </p:nvSpPr>
            <p:spPr>
              <a:xfrm>
                <a:off x="1176653" y="3296089"/>
                <a:ext cx="252000" cy="252000"/>
              </a:xfrm>
              <a:prstGeom prst="rect">
                <a:avLst/>
              </a:prstGeom>
              <a:solidFill>
                <a:srgbClr val="E6E6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0" name="Rechteck 19">
                <a:extLst>
                  <a:ext uri="{FF2B5EF4-FFF2-40B4-BE49-F238E27FC236}">
                    <a16:creationId xmlns:a16="http://schemas.microsoft.com/office/drawing/2014/main" id="{3AD516AD-F01C-43F2-B5DE-DA50F067EF7E}"/>
                  </a:ext>
                </a:extLst>
              </p:cNvPr>
              <p:cNvSpPr/>
              <p:nvPr/>
            </p:nvSpPr>
            <p:spPr>
              <a:xfrm>
                <a:off x="1176653" y="3569449"/>
                <a:ext cx="252000" cy="252000"/>
              </a:xfrm>
              <a:prstGeom prst="rect">
                <a:avLst/>
              </a:prstGeom>
              <a:solidFill>
                <a:srgbClr val="EEEE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1" name="Rechteck 20">
                <a:extLst>
                  <a:ext uri="{FF2B5EF4-FFF2-40B4-BE49-F238E27FC236}">
                    <a16:creationId xmlns:a16="http://schemas.microsoft.com/office/drawing/2014/main" id="{E6AE5665-D1F2-4D35-8C74-BA1038469FF2}"/>
                  </a:ext>
                </a:extLst>
              </p:cNvPr>
              <p:cNvSpPr/>
              <p:nvPr/>
            </p:nvSpPr>
            <p:spPr>
              <a:xfrm>
                <a:off x="1176653" y="3842809"/>
                <a:ext cx="252000" cy="252000"/>
              </a:xfrm>
              <a:prstGeom prst="rect">
                <a:avLst/>
              </a:prstGeom>
              <a:solidFill>
                <a:srgbClr val="F9F9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2" name="Rechteck 21">
                <a:extLst>
                  <a:ext uri="{FF2B5EF4-FFF2-40B4-BE49-F238E27FC236}">
                    <a16:creationId xmlns:a16="http://schemas.microsoft.com/office/drawing/2014/main" id="{40E3DF6F-1E85-4C01-A911-CD56ABEBAFB7}"/>
                  </a:ext>
                </a:extLst>
              </p:cNvPr>
              <p:cNvSpPr/>
              <p:nvPr/>
            </p:nvSpPr>
            <p:spPr>
              <a:xfrm>
                <a:off x="891531" y="3296089"/>
                <a:ext cx="252000" cy="252000"/>
              </a:xfrm>
              <a:prstGeom prst="rect">
                <a:avLst/>
              </a:prstGeom>
              <a:solidFill>
                <a:srgbClr val="6B6C6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3" name="Rechteck 22">
                <a:extLst>
                  <a:ext uri="{FF2B5EF4-FFF2-40B4-BE49-F238E27FC236}">
                    <a16:creationId xmlns:a16="http://schemas.microsoft.com/office/drawing/2014/main" id="{AEFE5AB6-11EB-48EA-9435-1E9E18249E52}"/>
                  </a:ext>
                </a:extLst>
              </p:cNvPr>
              <p:cNvSpPr/>
              <p:nvPr/>
            </p:nvSpPr>
            <p:spPr>
              <a:xfrm>
                <a:off x="891531" y="3569449"/>
                <a:ext cx="252000" cy="252000"/>
              </a:xfrm>
              <a:prstGeom prst="rect">
                <a:avLst/>
              </a:prstGeom>
              <a:solidFill>
                <a:srgbClr val="8C909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4" name="Rechteck 23">
                <a:extLst>
                  <a:ext uri="{FF2B5EF4-FFF2-40B4-BE49-F238E27FC236}">
                    <a16:creationId xmlns:a16="http://schemas.microsoft.com/office/drawing/2014/main" id="{0EAD3616-5233-4330-BB35-258308056CEE}"/>
                  </a:ext>
                </a:extLst>
              </p:cNvPr>
              <p:cNvSpPr/>
              <p:nvPr/>
            </p:nvSpPr>
            <p:spPr>
              <a:xfrm>
                <a:off x="891531" y="3842809"/>
                <a:ext cx="252000" cy="252000"/>
              </a:xfrm>
              <a:prstGeom prst="rect">
                <a:avLst/>
              </a:prstGeom>
              <a:solidFill>
                <a:srgbClr val="BABC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5" name="Rechteck 24">
                <a:extLst>
                  <a:ext uri="{FF2B5EF4-FFF2-40B4-BE49-F238E27FC236}">
                    <a16:creationId xmlns:a16="http://schemas.microsoft.com/office/drawing/2014/main" id="{429E5C65-0383-4EAE-B197-0B1BB30808A8}"/>
                  </a:ext>
                </a:extLst>
              </p:cNvPr>
              <p:cNvSpPr/>
              <p:nvPr/>
            </p:nvSpPr>
            <p:spPr>
              <a:xfrm>
                <a:off x="891531" y="4116169"/>
                <a:ext cx="252000" cy="252000"/>
              </a:xfrm>
              <a:prstGeom prst="rect">
                <a:avLst/>
              </a:prstGeom>
              <a:solidFill>
                <a:srgbClr val="D9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6" name="Rechteck 25">
                <a:extLst>
                  <a:ext uri="{FF2B5EF4-FFF2-40B4-BE49-F238E27FC236}">
                    <a16:creationId xmlns:a16="http://schemas.microsoft.com/office/drawing/2014/main" id="{6D50C1D7-91F2-4534-A1A0-60F828D8295D}"/>
                  </a:ext>
                </a:extLst>
              </p:cNvPr>
              <p:cNvSpPr/>
              <p:nvPr/>
            </p:nvSpPr>
            <p:spPr>
              <a:xfrm>
                <a:off x="321287" y="3296089"/>
                <a:ext cx="252000" cy="252000"/>
              </a:xfrm>
              <a:prstGeom prst="rect">
                <a:avLst/>
              </a:prstGeom>
              <a:solidFill>
                <a:srgbClr val="0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7" name="Rechteck 26">
                <a:extLst>
                  <a:ext uri="{FF2B5EF4-FFF2-40B4-BE49-F238E27FC236}">
                    <a16:creationId xmlns:a16="http://schemas.microsoft.com/office/drawing/2014/main" id="{6F96D180-860C-4462-9677-4E48DF6DFCE9}"/>
                  </a:ext>
                </a:extLst>
              </p:cNvPr>
              <p:cNvSpPr/>
              <p:nvPr/>
            </p:nvSpPr>
            <p:spPr>
              <a:xfrm>
                <a:off x="321287" y="3569449"/>
                <a:ext cx="252000" cy="252000"/>
              </a:xfrm>
              <a:prstGeom prst="rect">
                <a:avLst/>
              </a:prstGeom>
              <a:solidFill>
                <a:srgbClr val="17578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8" name="Rechteck 27">
                <a:extLst>
                  <a:ext uri="{FF2B5EF4-FFF2-40B4-BE49-F238E27FC236}">
                    <a16:creationId xmlns:a16="http://schemas.microsoft.com/office/drawing/2014/main" id="{87A52F2E-1978-4D9F-80B3-53604D07BBBD}"/>
                  </a:ext>
                </a:extLst>
              </p:cNvPr>
              <p:cNvSpPr/>
              <p:nvPr/>
            </p:nvSpPr>
            <p:spPr>
              <a:xfrm>
                <a:off x="321287" y="3842809"/>
                <a:ext cx="252000" cy="2520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grpSp>
      </p:grpSp>
    </p:spTree>
    <p:extLst>
      <p:ext uri="{BB962C8B-B14F-4D97-AF65-F5344CB8AC3E}">
        <p14:creationId xmlns:p14="http://schemas.microsoft.com/office/powerpoint/2010/main" val="3996476689"/>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359991" rtl="0" eaLnBrk="1" latinLnBrk="0" hangingPunct="1">
        <a:spcBef>
          <a:spcPct val="0"/>
        </a:spcBef>
        <a:buNone/>
        <a:defRPr sz="2667" kern="1200">
          <a:solidFill>
            <a:schemeClr val="tx2"/>
          </a:solidFill>
          <a:latin typeface="+mj-lt"/>
          <a:ea typeface="+mj-ea"/>
          <a:cs typeface="+mj-cs"/>
        </a:defRPr>
      </a:lvl1pPr>
    </p:titleStyle>
    <p:bodyStyle>
      <a:lvl1pPr marL="287993"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1pPr>
      <a:lvl2pPr marL="575986"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2pPr>
      <a:lvl3pPr marL="863978"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3pPr>
      <a:lvl4pPr marL="1151971"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4pPr>
      <a:lvl5pPr marL="1439964"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5pPr>
      <a:lvl6pPr marL="1727957"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a:solidFill>
            <a:schemeClr val="tx2"/>
          </a:solidFill>
          <a:latin typeface="+mn-lt"/>
          <a:ea typeface="+mn-ea"/>
          <a:cs typeface="+mn-cs"/>
        </a:defRPr>
      </a:lvl6pPr>
      <a:lvl7pPr marL="2015950"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baseline="0">
          <a:solidFill>
            <a:schemeClr val="tx2"/>
          </a:solidFill>
          <a:latin typeface="+mn-lt"/>
          <a:ea typeface="+mn-ea"/>
          <a:cs typeface="+mn-cs"/>
        </a:defRPr>
      </a:lvl7pPr>
      <a:lvl8pPr marL="2303942"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baseline="0">
          <a:solidFill>
            <a:schemeClr val="tx2"/>
          </a:solidFill>
          <a:latin typeface="+mn-lt"/>
          <a:ea typeface="+mn-ea"/>
          <a:cs typeface="+mn-cs"/>
        </a:defRPr>
      </a:lvl8pPr>
      <a:lvl9pPr marL="2591935" indent="-287993" algn="l" defTabSz="359991" rtl="0" eaLnBrk="1" latinLnBrk="0" hangingPunct="1">
        <a:lnSpc>
          <a:spcPct val="110000"/>
        </a:lnSpc>
        <a:spcBef>
          <a:spcPts val="0"/>
        </a:spcBef>
        <a:spcAft>
          <a:spcPts val="800"/>
        </a:spcAft>
        <a:buClr>
          <a:srgbClr val="0066FF"/>
        </a:buClr>
        <a:buFont typeface="Wingdings" pitchFamily="2" charset="2"/>
        <a:buChar char="§"/>
        <a:defRPr sz="1867" kern="1200" baseline="0">
          <a:solidFill>
            <a:schemeClr val="tx2"/>
          </a:solidFill>
          <a:latin typeface="+mn-lt"/>
          <a:ea typeface="+mn-ea"/>
          <a:cs typeface="+mn-cs"/>
        </a:defRPr>
      </a:lvl9pPr>
    </p:bodyStyle>
    <p:otherStyle>
      <a:defPPr>
        <a:defRPr lang="en-GB"/>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3">
          <p15:clr>
            <a:srgbClr val="F26B43"/>
          </p15:clr>
        </p15:guide>
        <p15:guide id="2" orient="horz" pos="680">
          <p15:clr>
            <a:srgbClr val="F26B43"/>
          </p15:clr>
        </p15:guide>
        <p15:guide id="4" pos="5567">
          <p15:clr>
            <a:srgbClr val="F26B43"/>
          </p15:clr>
        </p15:guide>
        <p15:guide id="5" orient="horz" pos="2993">
          <p15:clr>
            <a:srgbClr val="F26B43"/>
          </p15:clr>
        </p15:guide>
        <p15:guide id="6" orient="horz" pos="2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9.png"/><Relationship Id="rId3" Type="http://schemas.openxmlformats.org/officeDocument/2006/relationships/notesSlide" Target="../notesSlides/notesSlide10.xml"/><Relationship Id="rId7" Type="http://schemas.openxmlformats.org/officeDocument/2006/relationships/image" Target="../media/image23.png"/><Relationship Id="rId12" Type="http://schemas.openxmlformats.org/officeDocument/2006/relationships/image" Target="../media/image24.png"/><Relationship Id="rId2" Type="http://schemas.openxmlformats.org/officeDocument/2006/relationships/slideLayout" Target="../slideLayouts/slideLayout25.xml"/><Relationship Id="rId16" Type="http://schemas.openxmlformats.org/officeDocument/2006/relationships/image" Target="../media/image33.png"/><Relationship Id="rId1" Type="http://schemas.openxmlformats.org/officeDocument/2006/relationships/tags" Target="../tags/tag17.xml"/><Relationship Id="rId6" Type="http://schemas.openxmlformats.org/officeDocument/2006/relationships/image" Target="../media/image22.png"/><Relationship Id="rId11" Type="http://schemas.openxmlformats.org/officeDocument/2006/relationships/image" Target="../media/image28.png"/><Relationship Id="rId5" Type="http://schemas.openxmlformats.org/officeDocument/2006/relationships/image" Target="../media/image12.emf"/><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oleObject" Target="../embeddings/oleObject13.bin"/><Relationship Id="rId9" Type="http://schemas.openxmlformats.org/officeDocument/2006/relationships/image" Target="../media/image26.png"/><Relationship Id="rId14"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4.png"/><Relationship Id="rId3" Type="http://schemas.openxmlformats.org/officeDocument/2006/relationships/notesSlide" Target="../notesSlides/notesSlide11.xml"/><Relationship Id="rId7" Type="http://schemas.openxmlformats.org/officeDocument/2006/relationships/image" Target="../media/image23.png"/><Relationship Id="rId12" Type="http://schemas.openxmlformats.org/officeDocument/2006/relationships/image" Target="../media/image31.png"/><Relationship Id="rId17" Type="http://schemas.openxmlformats.org/officeDocument/2006/relationships/image" Target="../media/image37.png"/><Relationship Id="rId2" Type="http://schemas.openxmlformats.org/officeDocument/2006/relationships/slideLayout" Target="../slideLayouts/slideLayout25.xml"/><Relationship Id="rId16" Type="http://schemas.openxmlformats.org/officeDocument/2006/relationships/image" Target="../media/image33.png"/><Relationship Id="rId1" Type="http://schemas.openxmlformats.org/officeDocument/2006/relationships/tags" Target="../tags/tag18.xml"/><Relationship Id="rId6" Type="http://schemas.openxmlformats.org/officeDocument/2006/relationships/image" Target="../media/image22.png"/><Relationship Id="rId11" Type="http://schemas.openxmlformats.org/officeDocument/2006/relationships/image" Target="../media/image28.png"/><Relationship Id="rId5" Type="http://schemas.openxmlformats.org/officeDocument/2006/relationships/image" Target="../media/image12.emf"/><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oleObject" Target="../embeddings/oleObject14.bin"/><Relationship Id="rId9" Type="http://schemas.openxmlformats.org/officeDocument/2006/relationships/image" Target="../media/image26.png"/><Relationship Id="rId1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9.bin"/><Relationship Id="rId5" Type="http://schemas.openxmlformats.org/officeDocument/2006/relationships/image" Target="../media/image7.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3.xml"/><Relationship Id="rId7" Type="http://schemas.openxmlformats.org/officeDocument/2006/relationships/image" Target="../media/image38.png"/><Relationship Id="rId2" Type="http://schemas.openxmlformats.org/officeDocument/2006/relationships/slideLayout" Target="../slideLayouts/slideLayout25.xml"/><Relationship Id="rId1" Type="http://schemas.openxmlformats.org/officeDocument/2006/relationships/tags" Target="../tags/tag21.xml"/><Relationship Id="rId6" Type="http://schemas.openxmlformats.org/officeDocument/2006/relationships/image" Target="../media/image36.png"/><Relationship Id="rId5" Type="http://schemas.openxmlformats.org/officeDocument/2006/relationships/image" Target="../media/image12.emf"/><Relationship Id="rId10" Type="http://schemas.openxmlformats.org/officeDocument/2006/relationships/image" Target="../media/image41.png"/><Relationship Id="rId4" Type="http://schemas.openxmlformats.org/officeDocument/2006/relationships/oleObject" Target="../embeddings/oleObject15.bin"/><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7.jpe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9.bin"/><Relationship Id="rId5" Type="http://schemas.openxmlformats.org/officeDocument/2006/relationships/image" Target="../media/image7.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5.xml"/><Relationship Id="rId1" Type="http://schemas.openxmlformats.org/officeDocument/2006/relationships/tags" Target="../tags/tag15.xml"/><Relationship Id="rId6" Type="http://schemas.openxmlformats.org/officeDocument/2006/relationships/image" Target="../media/image20.png"/><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5.xml"/><Relationship Id="rId1" Type="http://schemas.openxmlformats.org/officeDocument/2006/relationships/tags" Target="../tags/tag16.xml"/><Relationship Id="rId6" Type="http://schemas.openxmlformats.org/officeDocument/2006/relationships/image" Target="../media/image21.png"/><Relationship Id="rId5" Type="http://schemas.openxmlformats.org/officeDocument/2006/relationships/image" Target="../media/image12.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CD6A80E-5864-463A-8A1A-F9B5153B571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6" name="Objekt 5" hidden="1">
                        <a:extLst>
                          <a:ext uri="{FF2B5EF4-FFF2-40B4-BE49-F238E27FC236}">
                            <a16:creationId xmlns:a16="http://schemas.microsoft.com/office/drawing/2014/main" id="{ECD6A80E-5864-463A-8A1A-F9B5153B5711}"/>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4FB4507-4B98-4C6F-B289-B777D1A574C6}"/>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3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7" name="Group 16">
            <a:extLst>
              <a:ext uri="{FF2B5EF4-FFF2-40B4-BE49-F238E27FC236}">
                <a16:creationId xmlns:a16="http://schemas.microsoft.com/office/drawing/2014/main" id="{93740A2E-CCC3-4D7F-B26B-78F7112C22B3}"/>
              </a:ext>
            </a:extLst>
          </p:cNvPr>
          <p:cNvGrpSpPr/>
          <p:nvPr/>
        </p:nvGrpSpPr>
        <p:grpSpPr>
          <a:xfrm>
            <a:off x="-489680" y="0"/>
            <a:ext cx="269824" cy="1528997"/>
            <a:chOff x="-764499" y="757003"/>
            <a:chExt cx="202368" cy="1146748"/>
          </a:xfrm>
        </p:grpSpPr>
        <p:sp>
          <p:nvSpPr>
            <p:cNvPr id="12" name="Rectangle 11">
              <a:extLst>
                <a:ext uri="{FF2B5EF4-FFF2-40B4-BE49-F238E27FC236}">
                  <a16:creationId xmlns:a16="http://schemas.microsoft.com/office/drawing/2014/main" id="{ED28759A-3C81-434B-AA44-24C99FEAC2C5}"/>
                </a:ext>
              </a:extLst>
            </p:cNvPr>
            <p:cNvSpPr/>
            <p:nvPr/>
          </p:nvSpPr>
          <p:spPr>
            <a:xfrm>
              <a:off x="-764499" y="757003"/>
              <a:ext cx="202368" cy="202368"/>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3" name="Rectangle 12">
              <a:extLst>
                <a:ext uri="{FF2B5EF4-FFF2-40B4-BE49-F238E27FC236}">
                  <a16:creationId xmlns:a16="http://schemas.microsoft.com/office/drawing/2014/main" id="{7718DB31-8EC4-4B11-BEE6-287FFEF69396}"/>
                </a:ext>
              </a:extLst>
            </p:cNvPr>
            <p:cNvSpPr/>
            <p:nvPr/>
          </p:nvSpPr>
          <p:spPr>
            <a:xfrm>
              <a:off x="-764499" y="1071796"/>
              <a:ext cx="202368" cy="202368"/>
            </a:xfrm>
            <a:prstGeom prst="rect">
              <a:avLst/>
            </a:prstGeom>
            <a:solidFill>
              <a:srgbClr val="00B4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4" name="Rectangle 13">
              <a:extLst>
                <a:ext uri="{FF2B5EF4-FFF2-40B4-BE49-F238E27FC236}">
                  <a16:creationId xmlns:a16="http://schemas.microsoft.com/office/drawing/2014/main" id="{0FFE6537-C7D0-4726-8973-73C6687B571F}"/>
                </a:ext>
              </a:extLst>
            </p:cNvPr>
            <p:cNvSpPr/>
            <p:nvPr/>
          </p:nvSpPr>
          <p:spPr>
            <a:xfrm>
              <a:off x="-764499" y="1386589"/>
              <a:ext cx="202368" cy="202368"/>
            </a:xfrm>
            <a:prstGeom prst="rect">
              <a:avLst/>
            </a:prstGeom>
            <a:solidFill>
              <a:srgbClr val="26B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5" name="Rectangle 14">
              <a:extLst>
                <a:ext uri="{FF2B5EF4-FFF2-40B4-BE49-F238E27FC236}">
                  <a16:creationId xmlns:a16="http://schemas.microsoft.com/office/drawing/2014/main" id="{9BDB601E-306D-4CD3-9B90-25D00DF79307}"/>
                </a:ext>
              </a:extLst>
            </p:cNvPr>
            <p:cNvSpPr/>
            <p:nvPr/>
          </p:nvSpPr>
          <p:spPr>
            <a:xfrm>
              <a:off x="-764499" y="1701383"/>
              <a:ext cx="202368" cy="202368"/>
            </a:xfrm>
            <a:prstGeom prst="rect">
              <a:avLst/>
            </a:prstGeom>
            <a:solidFill>
              <a:srgbClr val="57AB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pSp>
      <p:sp>
        <p:nvSpPr>
          <p:cNvPr id="11" name="Rectangle 11">
            <a:extLst>
              <a:ext uri="{FF2B5EF4-FFF2-40B4-BE49-F238E27FC236}">
                <a16:creationId xmlns:a16="http://schemas.microsoft.com/office/drawing/2014/main" id="{19C01E89-3C2C-4D2C-8BDC-2D46F001B075}"/>
              </a:ext>
            </a:extLst>
          </p:cNvPr>
          <p:cNvSpPr/>
          <p:nvPr/>
        </p:nvSpPr>
        <p:spPr>
          <a:xfrm>
            <a:off x="0" y="3456000"/>
            <a:ext cx="12192000" cy="3402000"/>
          </a:xfrm>
          <a:prstGeom prst="rect">
            <a:avLst/>
          </a:prstGeom>
          <a:solidFill>
            <a:schemeClr val="accent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3" name="Title 2">
            <a:extLst>
              <a:ext uri="{FF2B5EF4-FFF2-40B4-BE49-F238E27FC236}">
                <a16:creationId xmlns:a16="http://schemas.microsoft.com/office/drawing/2014/main" id="{3CABC064-08F7-4672-9506-F867EEACB898}"/>
              </a:ext>
            </a:extLst>
          </p:cNvPr>
          <p:cNvSpPr>
            <a:spLocks noGrp="1"/>
          </p:cNvSpPr>
          <p:nvPr>
            <p:ph type="ctrTitle"/>
          </p:nvPr>
        </p:nvSpPr>
        <p:spPr>
          <a:xfrm>
            <a:off x="407998" y="3744000"/>
            <a:ext cx="11512655" cy="1152000"/>
          </a:xfrm>
        </p:spPr>
        <p:txBody>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a:solidFill>
                  <a:schemeClr val="bg1"/>
                </a:solidFill>
              </a:rPr>
              <a:t>Distribution-free risk assessment of regression-based machine learning algorithms</a:t>
            </a:r>
          </a:p>
        </p:txBody>
      </p:sp>
      <p:sp>
        <p:nvSpPr>
          <p:cNvPr id="4" name="Subtitle 3">
            <a:extLst>
              <a:ext uri="{FF2B5EF4-FFF2-40B4-BE49-F238E27FC236}">
                <a16:creationId xmlns:a16="http://schemas.microsoft.com/office/drawing/2014/main" id="{95279FD8-6E2B-4CD4-B768-22E705C2DA82}"/>
              </a:ext>
            </a:extLst>
          </p:cNvPr>
          <p:cNvSpPr>
            <a:spLocks noGrp="1"/>
          </p:cNvSpPr>
          <p:nvPr>
            <p:ph type="subTitle" idx="1"/>
          </p:nvPr>
        </p:nvSpPr>
        <p:spPr/>
        <p:txBody>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de-DE" dirty="0">
                <a:solidFill>
                  <a:schemeClr val="bg1"/>
                </a:solidFill>
              </a:rPr>
              <a:t>Sukrita Singh (University </a:t>
            </a:r>
            <a:r>
              <a:rPr lang="de-DE" dirty="0" err="1">
                <a:solidFill>
                  <a:schemeClr val="bg1"/>
                </a:solidFill>
              </a:rPr>
              <a:t>of</a:t>
            </a:r>
            <a:r>
              <a:rPr lang="de-DE" dirty="0">
                <a:solidFill>
                  <a:schemeClr val="bg1"/>
                </a:solidFill>
              </a:rPr>
              <a:t> Oxford/ Munich Re), Neeraj Sarna (Munich Re)</a:t>
            </a:r>
            <a:endParaRPr lang="en-US" dirty="0">
              <a:solidFill>
                <a:schemeClr val="bg1"/>
              </a:solidFill>
            </a:endParaRPr>
          </a:p>
          <a:p>
            <a:endParaRPr lang="de-DE" i="1" dirty="0">
              <a:solidFill>
                <a:schemeClr val="bg1"/>
              </a:solidFill>
            </a:endParaRPr>
          </a:p>
          <a:p>
            <a:endParaRPr lang="de-DE" dirty="0">
              <a:solidFill>
                <a:schemeClr val="bg1"/>
              </a:solidFill>
            </a:endParaRPr>
          </a:p>
          <a:p>
            <a:r>
              <a:rPr lang="de-DE" i="1" dirty="0">
                <a:solidFill>
                  <a:schemeClr val="bg1"/>
                </a:solidFill>
              </a:rPr>
              <a:t>Joint </a:t>
            </a:r>
            <a:r>
              <a:rPr lang="de-DE" i="1" dirty="0" err="1">
                <a:solidFill>
                  <a:schemeClr val="bg1"/>
                </a:solidFill>
              </a:rPr>
              <a:t>work</a:t>
            </a:r>
            <a:r>
              <a:rPr lang="de-DE" i="1" dirty="0">
                <a:solidFill>
                  <a:schemeClr val="bg1"/>
                </a:solidFill>
              </a:rPr>
              <a:t> </a:t>
            </a:r>
            <a:r>
              <a:rPr lang="de-DE" i="1" dirty="0" err="1">
                <a:solidFill>
                  <a:schemeClr val="bg1"/>
                </a:solidFill>
              </a:rPr>
              <a:t>with</a:t>
            </a:r>
            <a:r>
              <a:rPr lang="de-DE" i="1" dirty="0">
                <a:solidFill>
                  <a:schemeClr val="bg1"/>
                </a:solidFill>
              </a:rPr>
              <a:t>:</a:t>
            </a:r>
          </a:p>
          <a:p>
            <a:r>
              <a:rPr lang="de-DE" dirty="0">
                <a:solidFill>
                  <a:schemeClr val="bg1"/>
                </a:solidFill>
              </a:rPr>
              <a:t>Yuanyuan Li, Yang Lin , Michael Berger (Munich Re), </a:t>
            </a:r>
          </a:p>
          <a:p>
            <a:r>
              <a:rPr lang="de-DE" dirty="0">
                <a:solidFill>
                  <a:schemeClr val="bg1"/>
                </a:solidFill>
              </a:rPr>
              <a:t>Agni </a:t>
            </a:r>
            <a:r>
              <a:rPr lang="de-DE" dirty="0" err="1">
                <a:solidFill>
                  <a:schemeClr val="bg1"/>
                </a:solidFill>
              </a:rPr>
              <a:t>Orfanoudaki</a:t>
            </a:r>
            <a:r>
              <a:rPr lang="de-DE" dirty="0">
                <a:solidFill>
                  <a:schemeClr val="bg1"/>
                </a:solidFill>
              </a:rPr>
              <a:t> (University </a:t>
            </a:r>
            <a:r>
              <a:rPr lang="de-DE" dirty="0" err="1">
                <a:solidFill>
                  <a:schemeClr val="bg1"/>
                </a:solidFill>
              </a:rPr>
              <a:t>of</a:t>
            </a:r>
            <a:r>
              <a:rPr lang="de-DE" dirty="0">
                <a:solidFill>
                  <a:schemeClr val="bg1"/>
                </a:solidFill>
              </a:rPr>
              <a:t> Oxford)</a:t>
            </a:r>
          </a:p>
          <a:p>
            <a:endParaRPr lang="de-DE" dirty="0">
              <a:solidFill>
                <a:schemeClr val="bg1"/>
              </a:solidFill>
            </a:endParaRPr>
          </a:p>
          <a:p>
            <a:r>
              <a:rPr lang="de-DE" dirty="0">
                <a:solidFill>
                  <a:schemeClr val="bg1"/>
                </a:solidFill>
              </a:rPr>
              <a:t>September 2024</a:t>
            </a:r>
            <a:endParaRPr lang="la-Latn" dirty="0">
              <a:solidFill>
                <a:schemeClr val="bg1"/>
              </a:solidFill>
            </a:endParaRPr>
          </a:p>
        </p:txBody>
      </p:sp>
      <p:grpSp>
        <p:nvGrpSpPr>
          <p:cNvPr id="19" name="Group 4">
            <a:extLst>
              <a:ext uri="{FF2B5EF4-FFF2-40B4-BE49-F238E27FC236}">
                <a16:creationId xmlns:a16="http://schemas.microsoft.com/office/drawing/2014/main" id="{EE28AFE9-02F6-4086-8D14-0FA626A19181}"/>
              </a:ext>
            </a:extLst>
          </p:cNvPr>
          <p:cNvGrpSpPr>
            <a:grpSpLocks noChangeAspect="1"/>
          </p:cNvGrpSpPr>
          <p:nvPr/>
        </p:nvGrpSpPr>
        <p:grpSpPr bwMode="auto">
          <a:xfrm>
            <a:off x="9412817" y="5816600"/>
            <a:ext cx="2015067" cy="465667"/>
            <a:chOff x="4447" y="2748"/>
            <a:chExt cx="952" cy="220"/>
          </a:xfrm>
        </p:grpSpPr>
        <p:sp>
          <p:nvSpPr>
            <p:cNvPr id="20" name="AutoShape 3">
              <a:extLst>
                <a:ext uri="{FF2B5EF4-FFF2-40B4-BE49-F238E27FC236}">
                  <a16:creationId xmlns:a16="http://schemas.microsoft.com/office/drawing/2014/main" id="{57DAF54E-ECA0-45FB-BB0C-BCCDB52E28D6}"/>
                </a:ext>
              </a:extLst>
            </p:cNvPr>
            <p:cNvSpPr>
              <a:spLocks noChangeAspect="1" noChangeArrowheads="1" noTextEdit="1"/>
            </p:cNvSpPr>
            <p:nvPr/>
          </p:nvSpPr>
          <p:spPr bwMode="auto">
            <a:xfrm>
              <a:off x="4447" y="2748"/>
              <a:ext cx="95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la-Latn" sz="2400"/>
            </a:p>
          </p:txBody>
        </p:sp>
        <p:sp>
          <p:nvSpPr>
            <p:cNvPr id="21" name="Freeform 5">
              <a:extLst>
                <a:ext uri="{FF2B5EF4-FFF2-40B4-BE49-F238E27FC236}">
                  <a16:creationId xmlns:a16="http://schemas.microsoft.com/office/drawing/2014/main" id="{BE7CBF43-98A8-45D5-96B7-EBAFB2B7EC01}"/>
                </a:ext>
              </a:extLst>
            </p:cNvPr>
            <p:cNvSpPr>
              <a:spLocks noEditPoints="1"/>
            </p:cNvSpPr>
            <p:nvPr/>
          </p:nvSpPr>
          <p:spPr bwMode="auto">
            <a:xfrm>
              <a:off x="4447" y="2748"/>
              <a:ext cx="952" cy="220"/>
            </a:xfrm>
            <a:custGeom>
              <a:avLst/>
              <a:gdLst>
                <a:gd name="T0" fmla="*/ 3239 w 4200"/>
                <a:gd name="T1" fmla="*/ 365 h 969"/>
                <a:gd name="T2" fmla="*/ 3239 w 4200"/>
                <a:gd name="T3" fmla="*/ 895 h 969"/>
                <a:gd name="T4" fmla="*/ 3786 w 4200"/>
                <a:gd name="T5" fmla="*/ 895 h 969"/>
                <a:gd name="T6" fmla="*/ 3239 w 4200"/>
                <a:gd name="T7" fmla="*/ 762 h 969"/>
                <a:gd name="T8" fmla="*/ 3239 w 4200"/>
                <a:gd name="T9" fmla="*/ 696 h 969"/>
                <a:gd name="T10" fmla="*/ 4117 w 4200"/>
                <a:gd name="T11" fmla="*/ 563 h 969"/>
                <a:gd name="T12" fmla="*/ 3885 w 4200"/>
                <a:gd name="T13" fmla="*/ 166 h 969"/>
                <a:gd name="T14" fmla="*/ 3819 w 4200"/>
                <a:gd name="T15" fmla="*/ 99 h 969"/>
                <a:gd name="T16" fmla="*/ 3620 w 4200"/>
                <a:gd name="T17" fmla="*/ 862 h 969"/>
                <a:gd name="T18" fmla="*/ 3554 w 4200"/>
                <a:gd name="T19" fmla="*/ 795 h 969"/>
                <a:gd name="T20" fmla="*/ 4200 w 4200"/>
                <a:gd name="T21" fmla="*/ 464 h 969"/>
                <a:gd name="T22" fmla="*/ 3521 w 4200"/>
                <a:gd name="T23" fmla="*/ 199 h 969"/>
                <a:gd name="T24" fmla="*/ 4200 w 4200"/>
                <a:gd name="T25" fmla="*/ 199 h 969"/>
                <a:gd name="T26" fmla="*/ 3653 w 4200"/>
                <a:gd name="T27" fmla="*/ 66 h 969"/>
                <a:gd name="T28" fmla="*/ 3719 w 4200"/>
                <a:gd name="T29" fmla="*/ 0 h 969"/>
                <a:gd name="T30" fmla="*/ 3421 w 4200"/>
                <a:gd name="T31" fmla="*/ 663 h 969"/>
                <a:gd name="T32" fmla="*/ 2513 w 4200"/>
                <a:gd name="T33" fmla="*/ 961 h 969"/>
                <a:gd name="T34" fmla="*/ 2501 w 4200"/>
                <a:gd name="T35" fmla="*/ 758 h 969"/>
                <a:gd name="T36" fmla="*/ 2575 w 4200"/>
                <a:gd name="T37" fmla="*/ 559 h 969"/>
                <a:gd name="T38" fmla="*/ 2432 w 4200"/>
                <a:gd name="T39" fmla="*/ 497 h 969"/>
                <a:gd name="T40" fmla="*/ 2339 w 4200"/>
                <a:gd name="T41" fmla="*/ 961 h 969"/>
                <a:gd name="T42" fmla="*/ 2423 w 4200"/>
                <a:gd name="T43" fmla="*/ 776 h 969"/>
                <a:gd name="T44" fmla="*/ 2339 w 4200"/>
                <a:gd name="T45" fmla="*/ 708 h 969"/>
                <a:gd name="T46" fmla="*/ 2483 w 4200"/>
                <a:gd name="T47" fmla="*/ 572 h 969"/>
                <a:gd name="T48" fmla="*/ 2423 w 4200"/>
                <a:gd name="T49" fmla="*/ 708 h 969"/>
                <a:gd name="T50" fmla="*/ 2963 w 4200"/>
                <a:gd name="T51" fmla="*/ 497 h 969"/>
                <a:gd name="T52" fmla="*/ 2744 w 4200"/>
                <a:gd name="T53" fmla="*/ 696 h 969"/>
                <a:gd name="T54" fmla="*/ 2744 w 4200"/>
                <a:gd name="T55" fmla="*/ 762 h 969"/>
                <a:gd name="T56" fmla="*/ 2968 w 4200"/>
                <a:gd name="T57" fmla="*/ 961 h 969"/>
                <a:gd name="T58" fmla="*/ 1958 w 4200"/>
                <a:gd name="T59" fmla="*/ 961 h 969"/>
                <a:gd name="T60" fmla="*/ 1932 w 4200"/>
                <a:gd name="T61" fmla="*/ 631 h 969"/>
                <a:gd name="T62" fmla="*/ 1829 w 4200"/>
                <a:gd name="T63" fmla="*/ 497 h 969"/>
                <a:gd name="T64" fmla="*/ 1829 w 4200"/>
                <a:gd name="T65" fmla="*/ 961 h 969"/>
                <a:gd name="T66" fmla="*/ 1948 w 4200"/>
                <a:gd name="T67" fmla="*/ 709 h 969"/>
                <a:gd name="T68" fmla="*/ 1482 w 4200"/>
                <a:gd name="T69" fmla="*/ 799 h 969"/>
                <a:gd name="T70" fmla="*/ 1697 w 4200"/>
                <a:gd name="T71" fmla="*/ 746 h 969"/>
                <a:gd name="T72" fmla="*/ 1554 w 4200"/>
                <a:gd name="T73" fmla="*/ 969 h 969"/>
                <a:gd name="T74" fmla="*/ 1555 w 4200"/>
                <a:gd name="T75" fmla="*/ 913 h 969"/>
                <a:gd name="T76" fmla="*/ 1339 w 4200"/>
                <a:gd name="T77" fmla="*/ 575 h 969"/>
                <a:gd name="T78" fmla="*/ 1257 w 4200"/>
                <a:gd name="T79" fmla="*/ 575 h 969"/>
                <a:gd name="T80" fmla="*/ 1258 w 4200"/>
                <a:gd name="T81" fmla="*/ 961 h 969"/>
                <a:gd name="T82" fmla="*/ 1106 w 4200"/>
                <a:gd name="T83" fmla="*/ 961 h 969"/>
                <a:gd name="T84" fmla="*/ 1079 w 4200"/>
                <a:gd name="T85" fmla="*/ 631 h 969"/>
                <a:gd name="T86" fmla="*/ 973 w 4200"/>
                <a:gd name="T87" fmla="*/ 638 h 969"/>
                <a:gd name="T88" fmla="*/ 976 w 4200"/>
                <a:gd name="T89" fmla="*/ 961 h 969"/>
                <a:gd name="T90" fmla="*/ 1095 w 4200"/>
                <a:gd name="T91" fmla="*/ 709 h 969"/>
                <a:gd name="T92" fmla="*/ 740 w 4200"/>
                <a:gd name="T93" fmla="*/ 962 h 969"/>
                <a:gd name="T94" fmla="*/ 737 w 4200"/>
                <a:gd name="T95" fmla="*/ 639 h 969"/>
                <a:gd name="T96" fmla="*/ 620 w 4200"/>
                <a:gd name="T97" fmla="*/ 890 h 969"/>
                <a:gd name="T98" fmla="*/ 530 w 4200"/>
                <a:gd name="T99" fmla="*/ 639 h 969"/>
                <a:gd name="T100" fmla="*/ 739 w 4200"/>
                <a:gd name="T101" fmla="*/ 908 h 969"/>
                <a:gd name="T102" fmla="*/ 376 w 4200"/>
                <a:gd name="T103" fmla="*/ 961 h 969"/>
                <a:gd name="T104" fmla="*/ 334 w 4200"/>
                <a:gd name="T105" fmla="*/ 497 h 969"/>
                <a:gd name="T106" fmla="*/ 229 w 4200"/>
                <a:gd name="T107" fmla="*/ 803 h 969"/>
                <a:gd name="T108" fmla="*/ 123 w 4200"/>
                <a:gd name="T109" fmla="*/ 497 h 969"/>
                <a:gd name="T110" fmla="*/ 74 w 4200"/>
                <a:gd name="T111" fmla="*/ 961 h 969"/>
                <a:gd name="T112" fmla="*/ 76 w 4200"/>
                <a:gd name="T113" fmla="*/ 580 h 969"/>
                <a:gd name="T114" fmla="*/ 262 w 4200"/>
                <a:gd name="T115" fmla="*/ 912 h 969"/>
                <a:gd name="T116" fmla="*/ 375 w 4200"/>
                <a:gd name="T117" fmla="*/ 58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00" h="969">
                  <a:moveTo>
                    <a:pt x="4018" y="298"/>
                  </a:moveTo>
                  <a:lnTo>
                    <a:pt x="3239" y="298"/>
                  </a:lnTo>
                  <a:lnTo>
                    <a:pt x="3239" y="365"/>
                  </a:lnTo>
                  <a:lnTo>
                    <a:pt x="4084" y="365"/>
                  </a:lnTo>
                  <a:lnTo>
                    <a:pt x="4018" y="298"/>
                  </a:lnTo>
                  <a:close/>
                  <a:moveTo>
                    <a:pt x="3239" y="895"/>
                  </a:moveTo>
                  <a:lnTo>
                    <a:pt x="3239" y="961"/>
                  </a:lnTo>
                  <a:lnTo>
                    <a:pt x="3719" y="961"/>
                  </a:lnTo>
                  <a:lnTo>
                    <a:pt x="3786" y="895"/>
                  </a:lnTo>
                  <a:lnTo>
                    <a:pt x="3239" y="895"/>
                  </a:lnTo>
                  <a:close/>
                  <a:moveTo>
                    <a:pt x="3239" y="696"/>
                  </a:moveTo>
                  <a:lnTo>
                    <a:pt x="3239" y="762"/>
                  </a:lnTo>
                  <a:lnTo>
                    <a:pt x="3918" y="762"/>
                  </a:lnTo>
                  <a:lnTo>
                    <a:pt x="3985" y="696"/>
                  </a:lnTo>
                  <a:lnTo>
                    <a:pt x="3239" y="696"/>
                  </a:lnTo>
                  <a:close/>
                  <a:moveTo>
                    <a:pt x="3239" y="497"/>
                  </a:moveTo>
                  <a:lnTo>
                    <a:pt x="3239" y="563"/>
                  </a:lnTo>
                  <a:lnTo>
                    <a:pt x="4117" y="563"/>
                  </a:lnTo>
                  <a:lnTo>
                    <a:pt x="4183" y="497"/>
                  </a:lnTo>
                  <a:lnTo>
                    <a:pt x="3239" y="497"/>
                  </a:lnTo>
                  <a:close/>
                  <a:moveTo>
                    <a:pt x="3885" y="166"/>
                  </a:moveTo>
                  <a:lnTo>
                    <a:pt x="3239" y="166"/>
                  </a:lnTo>
                  <a:lnTo>
                    <a:pt x="3239" y="99"/>
                  </a:lnTo>
                  <a:lnTo>
                    <a:pt x="3819" y="99"/>
                  </a:lnTo>
                  <a:lnTo>
                    <a:pt x="3885" y="166"/>
                  </a:lnTo>
                  <a:close/>
                  <a:moveTo>
                    <a:pt x="3554" y="795"/>
                  </a:moveTo>
                  <a:lnTo>
                    <a:pt x="3620" y="862"/>
                  </a:lnTo>
                  <a:lnTo>
                    <a:pt x="4200" y="862"/>
                  </a:lnTo>
                  <a:lnTo>
                    <a:pt x="4200" y="795"/>
                  </a:lnTo>
                  <a:lnTo>
                    <a:pt x="3554" y="795"/>
                  </a:lnTo>
                  <a:close/>
                  <a:moveTo>
                    <a:pt x="3322" y="398"/>
                  </a:moveTo>
                  <a:lnTo>
                    <a:pt x="3256" y="464"/>
                  </a:lnTo>
                  <a:lnTo>
                    <a:pt x="4200" y="464"/>
                  </a:lnTo>
                  <a:lnTo>
                    <a:pt x="4200" y="398"/>
                  </a:lnTo>
                  <a:lnTo>
                    <a:pt x="3322" y="398"/>
                  </a:lnTo>
                  <a:close/>
                  <a:moveTo>
                    <a:pt x="3521" y="199"/>
                  </a:moveTo>
                  <a:lnTo>
                    <a:pt x="3454" y="265"/>
                  </a:lnTo>
                  <a:lnTo>
                    <a:pt x="4200" y="265"/>
                  </a:lnTo>
                  <a:lnTo>
                    <a:pt x="4200" y="199"/>
                  </a:lnTo>
                  <a:lnTo>
                    <a:pt x="3521" y="199"/>
                  </a:lnTo>
                  <a:close/>
                  <a:moveTo>
                    <a:pt x="3719" y="0"/>
                  </a:moveTo>
                  <a:lnTo>
                    <a:pt x="3653" y="66"/>
                  </a:lnTo>
                  <a:lnTo>
                    <a:pt x="4200" y="66"/>
                  </a:lnTo>
                  <a:lnTo>
                    <a:pt x="4200" y="0"/>
                  </a:lnTo>
                  <a:lnTo>
                    <a:pt x="3719" y="0"/>
                  </a:lnTo>
                  <a:close/>
                  <a:moveTo>
                    <a:pt x="4200" y="597"/>
                  </a:moveTo>
                  <a:lnTo>
                    <a:pt x="4200" y="663"/>
                  </a:lnTo>
                  <a:lnTo>
                    <a:pt x="3421" y="663"/>
                  </a:lnTo>
                  <a:lnTo>
                    <a:pt x="3355" y="597"/>
                  </a:lnTo>
                  <a:lnTo>
                    <a:pt x="4200" y="597"/>
                  </a:lnTo>
                  <a:close/>
                  <a:moveTo>
                    <a:pt x="2513" y="961"/>
                  </a:moveTo>
                  <a:lnTo>
                    <a:pt x="2605" y="961"/>
                  </a:lnTo>
                  <a:lnTo>
                    <a:pt x="2553" y="860"/>
                  </a:lnTo>
                  <a:lnTo>
                    <a:pt x="2501" y="758"/>
                  </a:lnTo>
                  <a:cubicBezTo>
                    <a:pt x="2523" y="752"/>
                    <a:pt x="2546" y="740"/>
                    <a:pt x="2564" y="719"/>
                  </a:cubicBezTo>
                  <a:cubicBezTo>
                    <a:pt x="2582" y="699"/>
                    <a:pt x="2595" y="671"/>
                    <a:pt x="2595" y="631"/>
                  </a:cubicBezTo>
                  <a:cubicBezTo>
                    <a:pt x="2595" y="601"/>
                    <a:pt x="2587" y="578"/>
                    <a:pt x="2575" y="559"/>
                  </a:cubicBezTo>
                  <a:cubicBezTo>
                    <a:pt x="2562" y="540"/>
                    <a:pt x="2545" y="526"/>
                    <a:pt x="2524" y="516"/>
                  </a:cubicBezTo>
                  <a:cubicBezTo>
                    <a:pt x="2510" y="509"/>
                    <a:pt x="2495" y="505"/>
                    <a:pt x="2480" y="502"/>
                  </a:cubicBezTo>
                  <a:cubicBezTo>
                    <a:pt x="2464" y="498"/>
                    <a:pt x="2448" y="497"/>
                    <a:pt x="2432" y="497"/>
                  </a:cubicBezTo>
                  <a:lnTo>
                    <a:pt x="2256" y="497"/>
                  </a:lnTo>
                  <a:lnTo>
                    <a:pt x="2256" y="961"/>
                  </a:lnTo>
                  <a:lnTo>
                    <a:pt x="2339" y="961"/>
                  </a:lnTo>
                  <a:lnTo>
                    <a:pt x="2339" y="868"/>
                  </a:lnTo>
                  <a:lnTo>
                    <a:pt x="2339" y="776"/>
                  </a:lnTo>
                  <a:lnTo>
                    <a:pt x="2423" y="776"/>
                  </a:lnTo>
                  <a:lnTo>
                    <a:pt x="2468" y="868"/>
                  </a:lnTo>
                  <a:lnTo>
                    <a:pt x="2513" y="961"/>
                  </a:lnTo>
                  <a:close/>
                  <a:moveTo>
                    <a:pt x="2339" y="708"/>
                  </a:moveTo>
                  <a:lnTo>
                    <a:pt x="2339" y="556"/>
                  </a:lnTo>
                  <a:lnTo>
                    <a:pt x="2424" y="556"/>
                  </a:lnTo>
                  <a:cubicBezTo>
                    <a:pt x="2446" y="556"/>
                    <a:pt x="2467" y="561"/>
                    <a:pt x="2483" y="572"/>
                  </a:cubicBezTo>
                  <a:cubicBezTo>
                    <a:pt x="2499" y="584"/>
                    <a:pt x="2509" y="602"/>
                    <a:pt x="2509" y="631"/>
                  </a:cubicBezTo>
                  <a:cubicBezTo>
                    <a:pt x="2509" y="660"/>
                    <a:pt x="2500" y="679"/>
                    <a:pt x="2484" y="691"/>
                  </a:cubicBezTo>
                  <a:cubicBezTo>
                    <a:pt x="2468" y="703"/>
                    <a:pt x="2447" y="708"/>
                    <a:pt x="2423" y="708"/>
                  </a:cubicBezTo>
                  <a:lnTo>
                    <a:pt x="2339" y="708"/>
                  </a:lnTo>
                  <a:close/>
                  <a:moveTo>
                    <a:pt x="2661" y="497"/>
                  </a:moveTo>
                  <a:lnTo>
                    <a:pt x="2963" y="497"/>
                  </a:lnTo>
                  <a:lnTo>
                    <a:pt x="2963" y="563"/>
                  </a:lnTo>
                  <a:lnTo>
                    <a:pt x="2744" y="563"/>
                  </a:lnTo>
                  <a:lnTo>
                    <a:pt x="2744" y="696"/>
                  </a:lnTo>
                  <a:lnTo>
                    <a:pt x="2949" y="696"/>
                  </a:lnTo>
                  <a:lnTo>
                    <a:pt x="2949" y="762"/>
                  </a:lnTo>
                  <a:lnTo>
                    <a:pt x="2744" y="762"/>
                  </a:lnTo>
                  <a:lnTo>
                    <a:pt x="2744" y="895"/>
                  </a:lnTo>
                  <a:lnTo>
                    <a:pt x="2968" y="895"/>
                  </a:lnTo>
                  <a:lnTo>
                    <a:pt x="2968" y="961"/>
                  </a:lnTo>
                  <a:lnTo>
                    <a:pt x="2661" y="961"/>
                  </a:lnTo>
                  <a:lnTo>
                    <a:pt x="2661" y="497"/>
                  </a:lnTo>
                  <a:close/>
                  <a:moveTo>
                    <a:pt x="1958" y="961"/>
                  </a:moveTo>
                  <a:lnTo>
                    <a:pt x="2039" y="961"/>
                  </a:lnTo>
                  <a:lnTo>
                    <a:pt x="2039" y="745"/>
                  </a:lnTo>
                  <a:cubicBezTo>
                    <a:pt x="2039" y="666"/>
                    <a:pt x="2004" y="631"/>
                    <a:pt x="1932" y="631"/>
                  </a:cubicBezTo>
                  <a:cubicBezTo>
                    <a:pt x="1879" y="631"/>
                    <a:pt x="1845" y="660"/>
                    <a:pt x="1830" y="691"/>
                  </a:cubicBezTo>
                  <a:lnTo>
                    <a:pt x="1829" y="691"/>
                  </a:lnTo>
                  <a:lnTo>
                    <a:pt x="1829" y="497"/>
                  </a:lnTo>
                  <a:lnTo>
                    <a:pt x="1749" y="497"/>
                  </a:lnTo>
                  <a:lnTo>
                    <a:pt x="1749" y="961"/>
                  </a:lnTo>
                  <a:lnTo>
                    <a:pt x="1829" y="961"/>
                  </a:lnTo>
                  <a:lnTo>
                    <a:pt x="1829" y="771"/>
                  </a:lnTo>
                  <a:cubicBezTo>
                    <a:pt x="1829" y="722"/>
                    <a:pt x="1854" y="690"/>
                    <a:pt x="1903" y="690"/>
                  </a:cubicBezTo>
                  <a:cubicBezTo>
                    <a:pt x="1923" y="690"/>
                    <a:pt x="1938" y="696"/>
                    <a:pt x="1948" y="709"/>
                  </a:cubicBezTo>
                  <a:cubicBezTo>
                    <a:pt x="1958" y="723"/>
                    <a:pt x="1958" y="745"/>
                    <a:pt x="1958" y="768"/>
                  </a:cubicBezTo>
                  <a:lnTo>
                    <a:pt x="1958" y="961"/>
                  </a:lnTo>
                  <a:close/>
                  <a:moveTo>
                    <a:pt x="1482" y="799"/>
                  </a:moveTo>
                  <a:cubicBezTo>
                    <a:pt x="1482" y="735"/>
                    <a:pt x="1503" y="685"/>
                    <a:pt x="1556" y="685"/>
                  </a:cubicBezTo>
                  <a:cubicBezTo>
                    <a:pt x="1596" y="685"/>
                    <a:pt x="1615" y="712"/>
                    <a:pt x="1618" y="746"/>
                  </a:cubicBezTo>
                  <a:lnTo>
                    <a:pt x="1697" y="746"/>
                  </a:lnTo>
                  <a:cubicBezTo>
                    <a:pt x="1693" y="667"/>
                    <a:pt x="1634" y="631"/>
                    <a:pt x="1556" y="631"/>
                  </a:cubicBezTo>
                  <a:cubicBezTo>
                    <a:pt x="1458" y="631"/>
                    <a:pt x="1399" y="698"/>
                    <a:pt x="1399" y="800"/>
                  </a:cubicBezTo>
                  <a:cubicBezTo>
                    <a:pt x="1399" y="905"/>
                    <a:pt x="1455" y="969"/>
                    <a:pt x="1554" y="969"/>
                  </a:cubicBezTo>
                  <a:cubicBezTo>
                    <a:pt x="1634" y="969"/>
                    <a:pt x="1694" y="928"/>
                    <a:pt x="1699" y="848"/>
                  </a:cubicBezTo>
                  <a:lnTo>
                    <a:pt x="1621" y="848"/>
                  </a:lnTo>
                  <a:cubicBezTo>
                    <a:pt x="1620" y="876"/>
                    <a:pt x="1605" y="913"/>
                    <a:pt x="1555" y="913"/>
                  </a:cubicBezTo>
                  <a:cubicBezTo>
                    <a:pt x="1497" y="913"/>
                    <a:pt x="1482" y="860"/>
                    <a:pt x="1482" y="799"/>
                  </a:cubicBezTo>
                  <a:close/>
                  <a:moveTo>
                    <a:pt x="1257" y="575"/>
                  </a:moveTo>
                  <a:lnTo>
                    <a:pt x="1339" y="575"/>
                  </a:lnTo>
                  <a:lnTo>
                    <a:pt x="1339" y="497"/>
                  </a:lnTo>
                  <a:lnTo>
                    <a:pt x="1257" y="497"/>
                  </a:lnTo>
                  <a:lnTo>
                    <a:pt x="1257" y="575"/>
                  </a:lnTo>
                  <a:close/>
                  <a:moveTo>
                    <a:pt x="1339" y="638"/>
                  </a:moveTo>
                  <a:lnTo>
                    <a:pt x="1258" y="638"/>
                  </a:lnTo>
                  <a:lnTo>
                    <a:pt x="1258" y="961"/>
                  </a:lnTo>
                  <a:lnTo>
                    <a:pt x="1339" y="961"/>
                  </a:lnTo>
                  <a:lnTo>
                    <a:pt x="1339" y="638"/>
                  </a:lnTo>
                  <a:close/>
                  <a:moveTo>
                    <a:pt x="1106" y="961"/>
                  </a:moveTo>
                  <a:lnTo>
                    <a:pt x="1186" y="961"/>
                  </a:lnTo>
                  <a:lnTo>
                    <a:pt x="1186" y="745"/>
                  </a:lnTo>
                  <a:cubicBezTo>
                    <a:pt x="1186" y="666"/>
                    <a:pt x="1151" y="631"/>
                    <a:pt x="1079" y="631"/>
                  </a:cubicBezTo>
                  <a:cubicBezTo>
                    <a:pt x="1026" y="631"/>
                    <a:pt x="991" y="660"/>
                    <a:pt x="975" y="692"/>
                  </a:cubicBezTo>
                  <a:lnTo>
                    <a:pt x="973" y="692"/>
                  </a:lnTo>
                  <a:lnTo>
                    <a:pt x="973" y="638"/>
                  </a:lnTo>
                  <a:lnTo>
                    <a:pt x="896" y="638"/>
                  </a:lnTo>
                  <a:lnTo>
                    <a:pt x="896" y="961"/>
                  </a:lnTo>
                  <a:lnTo>
                    <a:pt x="976" y="961"/>
                  </a:lnTo>
                  <a:lnTo>
                    <a:pt x="976" y="771"/>
                  </a:lnTo>
                  <a:cubicBezTo>
                    <a:pt x="976" y="722"/>
                    <a:pt x="1001" y="690"/>
                    <a:pt x="1050" y="690"/>
                  </a:cubicBezTo>
                  <a:cubicBezTo>
                    <a:pt x="1070" y="690"/>
                    <a:pt x="1086" y="696"/>
                    <a:pt x="1095" y="709"/>
                  </a:cubicBezTo>
                  <a:cubicBezTo>
                    <a:pt x="1105" y="723"/>
                    <a:pt x="1106" y="745"/>
                    <a:pt x="1106" y="768"/>
                  </a:cubicBezTo>
                  <a:lnTo>
                    <a:pt x="1106" y="961"/>
                  </a:lnTo>
                  <a:close/>
                  <a:moveTo>
                    <a:pt x="740" y="962"/>
                  </a:moveTo>
                  <a:lnTo>
                    <a:pt x="818" y="962"/>
                  </a:lnTo>
                  <a:lnTo>
                    <a:pt x="818" y="639"/>
                  </a:lnTo>
                  <a:lnTo>
                    <a:pt x="737" y="639"/>
                  </a:lnTo>
                  <a:lnTo>
                    <a:pt x="737" y="815"/>
                  </a:lnTo>
                  <a:cubicBezTo>
                    <a:pt x="737" y="877"/>
                    <a:pt x="713" y="910"/>
                    <a:pt x="665" y="910"/>
                  </a:cubicBezTo>
                  <a:cubicBezTo>
                    <a:pt x="645" y="910"/>
                    <a:pt x="630" y="904"/>
                    <a:pt x="620" y="890"/>
                  </a:cubicBezTo>
                  <a:cubicBezTo>
                    <a:pt x="611" y="877"/>
                    <a:pt x="610" y="855"/>
                    <a:pt x="610" y="832"/>
                  </a:cubicBezTo>
                  <a:lnTo>
                    <a:pt x="610" y="639"/>
                  </a:lnTo>
                  <a:lnTo>
                    <a:pt x="530" y="639"/>
                  </a:lnTo>
                  <a:lnTo>
                    <a:pt x="530" y="859"/>
                  </a:lnTo>
                  <a:cubicBezTo>
                    <a:pt x="530" y="934"/>
                    <a:pt x="566" y="969"/>
                    <a:pt x="638" y="969"/>
                  </a:cubicBezTo>
                  <a:cubicBezTo>
                    <a:pt x="690" y="969"/>
                    <a:pt x="723" y="940"/>
                    <a:pt x="739" y="908"/>
                  </a:cubicBezTo>
                  <a:lnTo>
                    <a:pt x="740" y="908"/>
                  </a:lnTo>
                  <a:lnTo>
                    <a:pt x="740" y="962"/>
                  </a:lnTo>
                  <a:close/>
                  <a:moveTo>
                    <a:pt x="376" y="961"/>
                  </a:moveTo>
                  <a:lnTo>
                    <a:pt x="457" y="961"/>
                  </a:lnTo>
                  <a:lnTo>
                    <a:pt x="457" y="497"/>
                  </a:lnTo>
                  <a:lnTo>
                    <a:pt x="334" y="497"/>
                  </a:lnTo>
                  <a:lnTo>
                    <a:pt x="249" y="739"/>
                  </a:lnTo>
                  <a:cubicBezTo>
                    <a:pt x="242" y="759"/>
                    <a:pt x="230" y="803"/>
                    <a:pt x="230" y="803"/>
                  </a:cubicBezTo>
                  <a:lnTo>
                    <a:pt x="229" y="803"/>
                  </a:lnTo>
                  <a:lnTo>
                    <a:pt x="228" y="803"/>
                  </a:lnTo>
                  <a:cubicBezTo>
                    <a:pt x="228" y="803"/>
                    <a:pt x="215" y="759"/>
                    <a:pt x="208" y="739"/>
                  </a:cubicBezTo>
                  <a:lnTo>
                    <a:pt x="123" y="497"/>
                  </a:lnTo>
                  <a:lnTo>
                    <a:pt x="0" y="497"/>
                  </a:lnTo>
                  <a:lnTo>
                    <a:pt x="0" y="961"/>
                  </a:lnTo>
                  <a:lnTo>
                    <a:pt x="74" y="961"/>
                  </a:lnTo>
                  <a:lnTo>
                    <a:pt x="74" y="580"/>
                  </a:lnTo>
                  <a:lnTo>
                    <a:pt x="75" y="580"/>
                  </a:lnTo>
                  <a:lnTo>
                    <a:pt x="76" y="580"/>
                  </a:lnTo>
                  <a:cubicBezTo>
                    <a:pt x="76" y="580"/>
                    <a:pt x="94" y="640"/>
                    <a:pt x="94" y="640"/>
                  </a:cubicBezTo>
                  <a:lnTo>
                    <a:pt x="188" y="912"/>
                  </a:lnTo>
                  <a:lnTo>
                    <a:pt x="262" y="912"/>
                  </a:lnTo>
                  <a:lnTo>
                    <a:pt x="359" y="628"/>
                  </a:lnTo>
                  <a:cubicBezTo>
                    <a:pt x="361" y="624"/>
                    <a:pt x="374" y="580"/>
                    <a:pt x="374" y="580"/>
                  </a:cubicBezTo>
                  <a:lnTo>
                    <a:pt x="375" y="580"/>
                  </a:lnTo>
                  <a:lnTo>
                    <a:pt x="376" y="580"/>
                  </a:lnTo>
                  <a:lnTo>
                    <a:pt x="376" y="9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endParaRPr lang="la-Latn" sz="2400"/>
            </a:p>
          </p:txBody>
        </p:sp>
      </p:grpSp>
      <p:pic>
        <p:nvPicPr>
          <p:cNvPr id="22" name="Picture Placeholder 21" descr="Shape, square&#10;&#10;Description automatically generated with medium confidence">
            <a:extLst>
              <a:ext uri="{FF2B5EF4-FFF2-40B4-BE49-F238E27FC236}">
                <a16:creationId xmlns:a16="http://schemas.microsoft.com/office/drawing/2014/main" id="{F9B5662E-B399-4385-80C1-C6C5921B7C73}"/>
              </a:ext>
            </a:extLst>
          </p:cNvPr>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t="39978" b="39978"/>
          <a:stretch>
            <a:fillRect/>
          </a:stretch>
        </p:blipFill>
        <p:spPr/>
      </p:pic>
    </p:spTree>
    <p:extLst>
      <p:ext uri="{BB962C8B-B14F-4D97-AF65-F5344CB8AC3E}">
        <p14:creationId xmlns:p14="http://schemas.microsoft.com/office/powerpoint/2010/main" val="134860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5EFD9C-E3AC-4956-8864-3C11D0555DFF}"/>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95EFD9C-E3AC-4956-8864-3C11D0555DFF}"/>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9DD929D8-DCCA-427E-9C6E-4111CC3DA4BA}"/>
              </a:ext>
            </a:extLst>
          </p:cNvPr>
          <p:cNvSpPr>
            <a:spLocks noGrp="1"/>
          </p:cNvSpPr>
          <p:nvPr>
            <p:ph type="sldNum" sz="quarter" idx="11"/>
          </p:nvPr>
        </p:nvSpPr>
        <p:spPr/>
        <p:txBody>
          <a:bodyPr/>
          <a:lstStyle/>
          <a:p>
            <a:pPr defTabSz="914354"/>
            <a:fld id="{D94909C6-CC71-4962-A18E-AF0515723D95}" type="slidenum">
              <a:rPr lang="en-GB">
                <a:solidFill>
                  <a:srgbClr val="4D4E53"/>
                </a:solidFill>
                <a:latin typeface="Arial"/>
                <a:ea typeface="Arial Unicode MS"/>
                <a:cs typeface="Arial"/>
              </a:rPr>
              <a:pPr defTabSz="914354"/>
              <a:t>10</a:t>
            </a:fld>
            <a:endParaRPr lang="en-GB">
              <a:solidFill>
                <a:srgbClr val="4D4E53"/>
              </a:solidFill>
              <a:latin typeface="Arial"/>
              <a:ea typeface="Arial Unicode MS"/>
              <a:cs typeface="Arial"/>
            </a:endParaRPr>
          </a:p>
        </p:txBody>
      </p:sp>
      <p:sp>
        <p:nvSpPr>
          <p:cNvPr id="27" name="Arrow: Pentagon 26">
            <a:extLst>
              <a:ext uri="{FF2B5EF4-FFF2-40B4-BE49-F238E27FC236}">
                <a16:creationId xmlns:a16="http://schemas.microsoft.com/office/drawing/2014/main" id="{63DE510D-C36D-6B50-AF80-16C3E0296A9B}"/>
              </a:ext>
            </a:extLst>
          </p:cNvPr>
          <p:cNvSpPr/>
          <p:nvPr/>
        </p:nvSpPr>
        <p:spPr>
          <a:xfrm>
            <a:off x="0" y="1970248"/>
            <a:ext cx="6289040" cy="4887753"/>
          </a:xfrm>
          <a:prstGeom prst="homePlate">
            <a:avLst>
              <a:gd name="adj" fmla="val 13088"/>
            </a:avLst>
          </a:prstGeom>
          <a:noFill/>
          <a:ln w="12700" cap="flat" cmpd="sng" algn="ctr">
            <a:noFill/>
            <a:prstDash val="solid"/>
            <a:miter lim="800000"/>
          </a:ln>
          <a:effectLst/>
        </p:spPr>
        <p:txBody>
          <a:bodyPr rtlCol="0" anchor="ctr" anchorCtr="0"/>
          <a:lstStyle/>
          <a:p>
            <a:pPr algn="ctr" defTabSz="1219170">
              <a:defRPr/>
            </a:pPr>
            <a:endParaRPr lang="en-GB" sz="1867" kern="0">
              <a:solidFill>
                <a:prstClr val="white"/>
              </a:solidFill>
              <a:latin typeface="Arial"/>
              <a:ea typeface="Arial Unicode MS"/>
              <a:cs typeface="Arial"/>
            </a:endParaRPr>
          </a:p>
        </p:txBody>
      </p:sp>
      <p:sp>
        <p:nvSpPr>
          <p:cNvPr id="9" name="Title 4">
            <a:extLst>
              <a:ext uri="{FF2B5EF4-FFF2-40B4-BE49-F238E27FC236}">
                <a16:creationId xmlns:a16="http://schemas.microsoft.com/office/drawing/2014/main" id="{2EE1B889-AA8A-0DF8-FDEB-98428F59AD7B}"/>
              </a:ext>
            </a:extLst>
          </p:cNvPr>
          <p:cNvSpPr>
            <a:spLocks noGrp="1"/>
          </p:cNvSpPr>
          <p:nvPr>
            <p:ph type="title"/>
          </p:nvPr>
        </p:nvSpPr>
        <p:spPr>
          <a:xfrm>
            <a:off x="408000" y="480000"/>
            <a:ext cx="9024000" cy="816000"/>
          </a:xfrm>
        </p:spPr>
        <p:txBody>
          <a:bodyPr vert="horz"/>
          <a:lstStyle/>
          <a:p>
            <a:r>
              <a:rPr lang="en-US">
                <a:solidFill>
                  <a:schemeClr val="tx1"/>
                </a:solidFill>
              </a:rPr>
              <a:t>Computation of Failure Probability : Proposed methodology</a:t>
            </a:r>
            <a:br>
              <a:rPr lang="en-GB">
                <a:solidFill>
                  <a:srgbClr val="0066FF"/>
                </a:solidFill>
              </a:rPr>
            </a:br>
            <a:r>
              <a:rPr lang="en-GB" sz="2133">
                <a:solidFill>
                  <a:schemeClr val="bg1">
                    <a:lumMod val="50000"/>
                  </a:schemeClr>
                </a:solidFill>
              </a:rPr>
              <a:t>Under exchangeability</a:t>
            </a:r>
            <a:endParaRPr lang="en-GB" sz="1867">
              <a:solidFill>
                <a:schemeClr val="bg1">
                  <a:lumMod val="50000"/>
                </a:schemeClr>
              </a:solidFill>
            </a:endParaRPr>
          </a:p>
        </p:txBody>
      </p:sp>
      <p:pic>
        <p:nvPicPr>
          <p:cNvPr id="2" name="Picture 1">
            <a:extLst>
              <a:ext uri="{FF2B5EF4-FFF2-40B4-BE49-F238E27FC236}">
                <a16:creationId xmlns:a16="http://schemas.microsoft.com/office/drawing/2014/main" id="{C2F71877-D6FE-AE19-4B67-7F389A9F3473}"/>
              </a:ext>
            </a:extLst>
          </p:cNvPr>
          <p:cNvPicPr>
            <a:picLocks noChangeAspect="1"/>
          </p:cNvPicPr>
          <p:nvPr/>
        </p:nvPicPr>
        <p:blipFill>
          <a:blip r:embed="rId6"/>
          <a:stretch>
            <a:fillRect/>
          </a:stretch>
        </p:blipFill>
        <p:spPr>
          <a:xfrm>
            <a:off x="796777" y="4370336"/>
            <a:ext cx="4212000" cy="652670"/>
          </a:xfrm>
          <a:prstGeom prst="rect">
            <a:avLst/>
          </a:prstGeom>
        </p:spPr>
      </p:pic>
      <p:pic>
        <p:nvPicPr>
          <p:cNvPr id="5" name="Picture 4">
            <a:extLst>
              <a:ext uri="{FF2B5EF4-FFF2-40B4-BE49-F238E27FC236}">
                <a16:creationId xmlns:a16="http://schemas.microsoft.com/office/drawing/2014/main" id="{B78AFB0D-8994-D34A-E902-245928AB535B}"/>
              </a:ext>
            </a:extLst>
          </p:cNvPr>
          <p:cNvPicPr>
            <a:picLocks noChangeAspect="1"/>
          </p:cNvPicPr>
          <p:nvPr/>
        </p:nvPicPr>
        <p:blipFill>
          <a:blip r:embed="rId7"/>
          <a:stretch>
            <a:fillRect/>
          </a:stretch>
        </p:blipFill>
        <p:spPr>
          <a:xfrm>
            <a:off x="5805554" y="4414347"/>
            <a:ext cx="4242357" cy="751330"/>
          </a:xfrm>
          <a:prstGeom prst="rect">
            <a:avLst/>
          </a:prstGeom>
        </p:spPr>
      </p:pic>
      <p:cxnSp>
        <p:nvCxnSpPr>
          <p:cNvPr id="4" name="Straight Arrow Connector 3">
            <a:extLst>
              <a:ext uri="{FF2B5EF4-FFF2-40B4-BE49-F238E27FC236}">
                <a16:creationId xmlns:a16="http://schemas.microsoft.com/office/drawing/2014/main" id="{DBA6F32E-8CF6-CC24-4C53-A48F528EA745}"/>
              </a:ext>
            </a:extLst>
          </p:cNvPr>
          <p:cNvCxnSpPr>
            <a:cxnSpLocks/>
          </p:cNvCxnSpPr>
          <p:nvPr/>
        </p:nvCxnSpPr>
        <p:spPr>
          <a:xfrm>
            <a:off x="898334" y="2604014"/>
            <a:ext cx="10116273" cy="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AF6010-5945-7BB4-EDB4-8FA0F58CE937}"/>
              </a:ext>
            </a:extLst>
          </p:cNvPr>
          <p:cNvCxnSpPr>
            <a:cxnSpLocks/>
          </p:cNvCxnSpPr>
          <p:nvPr/>
        </p:nvCxnSpPr>
        <p:spPr>
          <a:xfrm>
            <a:off x="5296713" y="2407245"/>
            <a:ext cx="0" cy="19676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DD59343-15DF-0AB3-9102-E4312716A432}"/>
                  </a:ext>
                </a:extLst>
              </p:cNvPr>
              <p:cNvSpPr txBox="1"/>
              <p:nvPr/>
            </p:nvSpPr>
            <p:spPr>
              <a:xfrm>
                <a:off x="4886779" y="2712045"/>
                <a:ext cx="972272"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smtClean="0">
                          <a:solidFill>
                            <a:srgbClr val="00B050"/>
                          </a:solidFill>
                          <a:latin typeface="Cambria Math" panose="02040503050406030204" pitchFamily="18" charset="0"/>
                          <a:ea typeface="Cambria Math" panose="02040503050406030204" pitchFamily="18" charset="0"/>
                        </a:rPr>
                        <m:t>𝝁</m:t>
                      </m:r>
                      <m:r>
                        <a:rPr lang="en-GB" sz="1600" b="1" i="1" smtClean="0">
                          <a:solidFill>
                            <a:srgbClr val="00B050"/>
                          </a:solidFill>
                          <a:latin typeface="Cambria Math" panose="02040503050406030204" pitchFamily="18" charset="0"/>
                        </a:rPr>
                        <m:t>(</m:t>
                      </m:r>
                      <m:r>
                        <a:rPr lang="en-GB" sz="1600" b="1" i="1" smtClean="0">
                          <a:solidFill>
                            <a:srgbClr val="00B050"/>
                          </a:solidFill>
                          <a:latin typeface="Cambria Math" panose="02040503050406030204" pitchFamily="18" charset="0"/>
                        </a:rPr>
                        <m:t>𝒙</m:t>
                      </m:r>
                      <m:r>
                        <a:rPr lang="en-GB" sz="1600" b="1" i="1" smtClean="0">
                          <a:solidFill>
                            <a:srgbClr val="00B050"/>
                          </a:solidFill>
                          <a:latin typeface="Cambria Math" panose="02040503050406030204" pitchFamily="18" charset="0"/>
                        </a:rPr>
                        <m:t>)</m:t>
                      </m:r>
                    </m:oMath>
                  </m:oMathPara>
                </a14:m>
                <a:endParaRPr lang="en-GB" sz="1600" dirty="0">
                  <a:solidFill>
                    <a:srgbClr val="00B050"/>
                  </a:solidFill>
                </a:endParaRPr>
              </a:p>
            </p:txBody>
          </p:sp>
        </mc:Choice>
        <mc:Fallback xmlns="">
          <p:sp>
            <p:nvSpPr>
              <p:cNvPr id="6" name="TextBox 5">
                <a:extLst>
                  <a:ext uri="{FF2B5EF4-FFF2-40B4-BE49-F238E27FC236}">
                    <a16:creationId xmlns:a16="http://schemas.microsoft.com/office/drawing/2014/main" id="{3DD59343-15DF-0AB3-9102-E4312716A432}"/>
                  </a:ext>
                </a:extLst>
              </p:cNvPr>
              <p:cNvSpPr txBox="1">
                <a:spLocks noRot="1" noChangeAspect="1" noMove="1" noResize="1" noEditPoints="1" noAdjustHandles="1" noChangeArrowheads="1" noChangeShapeType="1" noTextEdit="1"/>
              </p:cNvSpPr>
              <p:nvPr/>
            </p:nvSpPr>
            <p:spPr>
              <a:xfrm>
                <a:off x="4886779" y="2712045"/>
                <a:ext cx="972272" cy="270843"/>
              </a:xfrm>
              <a:prstGeom prst="rect">
                <a:avLst/>
              </a:prstGeom>
              <a:blipFill>
                <a:blip r:embed="rId8"/>
                <a:stretch>
                  <a:fillRect b="-25000"/>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1816757-2614-BE6E-EA64-7DE8395AD21F}"/>
                  </a:ext>
                </a:extLst>
              </p:cNvPr>
              <p:cNvSpPr txBox="1"/>
              <p:nvPr/>
            </p:nvSpPr>
            <p:spPr>
              <a:xfrm>
                <a:off x="2772365" y="2918082"/>
                <a:ext cx="1765344"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dirty="0" smtClean="0">
                          <a:solidFill>
                            <a:schemeClr val="accent5"/>
                          </a:solidFill>
                          <a:latin typeface="Cambria Math" panose="02040503050406030204" pitchFamily="18" charset="0"/>
                          <a:ea typeface="Cambria Math" panose="02040503050406030204" pitchFamily="18" charset="0"/>
                        </a:rPr>
                        <m:t>𝝁</m:t>
                      </m:r>
                      <m:d>
                        <m:dPr>
                          <m:ctrlPr>
                            <a:rPr lang="en-GB" sz="1600" b="1" i="1" dirty="0">
                              <a:solidFill>
                                <a:schemeClr val="accent5"/>
                              </a:solidFill>
                              <a:latin typeface="Cambria Math" panose="02040503050406030204" pitchFamily="18" charset="0"/>
                            </a:rPr>
                          </m:ctrlPr>
                        </m:dPr>
                        <m:e>
                          <m:r>
                            <a:rPr lang="en-GB" sz="1600" b="1" i="1">
                              <a:solidFill>
                                <a:schemeClr val="accent5"/>
                              </a:solidFill>
                              <a:latin typeface="Cambria Math" panose="02040503050406030204" pitchFamily="18" charset="0"/>
                            </a:rPr>
                            <m:t>𝒙</m:t>
                          </m:r>
                        </m:e>
                      </m:d>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ea typeface="Cambria Math" panose="02040503050406030204" pitchFamily="18" charset="0"/>
                        </a:rPr>
                        <m:t>𝝉</m:t>
                      </m:r>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rPr>
                        <m:t>𝒙</m:t>
                      </m:r>
                      <m:r>
                        <a:rPr lang="en-GB" sz="1600" b="1" i="1" smtClean="0">
                          <a:solidFill>
                            <a:schemeClr val="accent5"/>
                          </a:solidFill>
                          <a:latin typeface="Cambria Math" panose="02040503050406030204" pitchFamily="18" charset="0"/>
                        </a:rPr>
                        <m:t>)</m:t>
                      </m:r>
                    </m:oMath>
                  </m:oMathPara>
                </a14:m>
                <a:endParaRPr lang="en-GB" sz="1600" dirty="0">
                  <a:solidFill>
                    <a:schemeClr val="accent5"/>
                  </a:solidFill>
                </a:endParaRPr>
              </a:p>
            </p:txBody>
          </p:sp>
        </mc:Choice>
        <mc:Fallback xmlns="">
          <p:sp>
            <p:nvSpPr>
              <p:cNvPr id="8" name="TextBox 7">
                <a:extLst>
                  <a:ext uri="{FF2B5EF4-FFF2-40B4-BE49-F238E27FC236}">
                    <a16:creationId xmlns:a16="http://schemas.microsoft.com/office/drawing/2014/main" id="{41816757-2614-BE6E-EA64-7DE8395AD21F}"/>
                  </a:ext>
                </a:extLst>
              </p:cNvPr>
              <p:cNvSpPr txBox="1">
                <a:spLocks noRot="1" noChangeAspect="1" noMove="1" noResize="1" noEditPoints="1" noAdjustHandles="1" noChangeArrowheads="1" noChangeShapeType="1" noTextEdit="1"/>
              </p:cNvSpPr>
              <p:nvPr/>
            </p:nvSpPr>
            <p:spPr>
              <a:xfrm>
                <a:off x="2772365" y="2918082"/>
                <a:ext cx="1765344" cy="270843"/>
              </a:xfrm>
              <a:prstGeom prst="rect">
                <a:avLst/>
              </a:prstGeom>
              <a:blipFill>
                <a:blip r:embed="rId9"/>
                <a:stretch>
                  <a:fillRect b="-25000"/>
                </a:stretch>
              </a:blipFill>
              <a:effectLst/>
            </p:spPr>
            <p:txBody>
              <a:bodyPr/>
              <a:lstStyle/>
              <a:p>
                <a:r>
                  <a:rPr lang="en-US">
                    <a:noFill/>
                  </a:rPr>
                  <a:t> </a:t>
                </a:r>
              </a:p>
            </p:txBody>
          </p:sp>
        </mc:Fallback>
      </mc:AlternateContent>
      <p:cxnSp>
        <p:nvCxnSpPr>
          <p:cNvPr id="32" name="Straight Connector 31">
            <a:extLst>
              <a:ext uri="{FF2B5EF4-FFF2-40B4-BE49-F238E27FC236}">
                <a16:creationId xmlns:a16="http://schemas.microsoft.com/office/drawing/2014/main" id="{905BAAC0-21CA-E5AA-E587-33091B43603F}"/>
              </a:ext>
            </a:extLst>
          </p:cNvPr>
          <p:cNvCxnSpPr>
            <a:cxnSpLocks/>
          </p:cNvCxnSpPr>
          <p:nvPr/>
        </p:nvCxnSpPr>
        <p:spPr>
          <a:xfrm>
            <a:off x="3655037" y="2291500"/>
            <a:ext cx="0" cy="58259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D833CC8-9D58-F3A2-EF25-11D70AB9E799}"/>
              </a:ext>
            </a:extLst>
          </p:cNvPr>
          <p:cNvCxnSpPr>
            <a:cxnSpLocks/>
          </p:cNvCxnSpPr>
          <p:nvPr/>
        </p:nvCxnSpPr>
        <p:spPr>
          <a:xfrm>
            <a:off x="6923439" y="2312718"/>
            <a:ext cx="0" cy="58259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BCA7CB4-D67A-BC53-4028-F1D7ED345DB3}"/>
              </a:ext>
            </a:extLst>
          </p:cNvPr>
          <p:cNvCxnSpPr>
            <a:cxnSpLocks/>
          </p:cNvCxnSpPr>
          <p:nvPr/>
        </p:nvCxnSpPr>
        <p:spPr>
          <a:xfrm flipH="1">
            <a:off x="3655037" y="2604014"/>
            <a:ext cx="3268402"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4" name="Left Brace 73">
            <a:extLst>
              <a:ext uri="{FF2B5EF4-FFF2-40B4-BE49-F238E27FC236}">
                <a16:creationId xmlns:a16="http://schemas.microsoft.com/office/drawing/2014/main" id="{3694A44D-0631-95F6-B747-B86FBA5C0473}"/>
              </a:ext>
            </a:extLst>
          </p:cNvPr>
          <p:cNvSpPr/>
          <p:nvPr/>
        </p:nvSpPr>
        <p:spPr>
          <a:xfrm rot="5400000">
            <a:off x="3668542" y="1136155"/>
            <a:ext cx="443699" cy="1961909"/>
          </a:xfrm>
          <a:prstGeom prst="leftBrace">
            <a:avLst>
              <a:gd name="adj1" fmla="val 8333"/>
              <a:gd name="adj2" fmla="val 5118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BF926860-F22A-C71D-2204-055BDC1BB8CF}"/>
                  </a:ext>
                </a:extLst>
              </p:cNvPr>
              <p:cNvSpPr txBox="1"/>
              <p:nvPr/>
            </p:nvSpPr>
            <p:spPr>
              <a:xfrm>
                <a:off x="3456421" y="1601882"/>
                <a:ext cx="1261640" cy="271036"/>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bSup>
                        <m:sSubSupPr>
                          <m:ctrlPr>
                            <a:rPr lang="en-GB" sz="1600" i="1" smtClean="0">
                              <a:solidFill>
                                <a:schemeClr val="tx2"/>
                              </a:solidFill>
                              <a:latin typeface="Cambria Math" panose="02040503050406030204" pitchFamily="18" charset="0"/>
                            </a:rPr>
                          </m:ctrlPr>
                        </m:sSubSupPr>
                        <m:e>
                          <m:r>
                            <a:rPr lang="en-GB" sz="1600" b="0" i="1" smtClean="0">
                              <a:solidFill>
                                <a:schemeClr val="tx2"/>
                              </a:solidFill>
                              <a:latin typeface="Cambria Math" panose="02040503050406030204" pitchFamily="18" charset="0"/>
                            </a:rPr>
                            <m:t>𝑉</m:t>
                          </m:r>
                        </m:e>
                        <m:sub>
                          <m:r>
                            <a:rPr lang="en-GB" sz="1600" b="0" i="1" smtClean="0">
                              <a:solidFill>
                                <a:schemeClr val="tx2"/>
                              </a:solidFill>
                              <a:latin typeface="Cambria Math" panose="02040503050406030204" pitchFamily="18" charset="0"/>
                            </a:rPr>
                            <m:t>𝑖</m:t>
                          </m:r>
                        </m:sub>
                        <m:sup>
                          <m:r>
                            <a:rPr lang="en-GB" sz="1600" b="0" i="1" smtClean="0">
                              <a:solidFill>
                                <a:schemeClr val="tx2"/>
                              </a:solidFill>
                              <a:latin typeface="Cambria Math" panose="02040503050406030204" pitchFamily="18" charset="0"/>
                            </a:rPr>
                            <m:t>−</m:t>
                          </m:r>
                        </m:sup>
                      </m:sSubSup>
                      <m:r>
                        <a:rPr lang="en-GB" sz="1600" b="0" i="1" smtClean="0">
                          <a:solidFill>
                            <a:schemeClr val="tx2"/>
                          </a:solidFill>
                          <a:latin typeface="Cambria Math" panose="02040503050406030204" pitchFamily="18" charset="0"/>
                        </a:rPr>
                        <m:t> (</m:t>
                      </m:r>
                      <m:r>
                        <a:rPr lang="en-GB" sz="1600" b="0" i="1" smtClean="0">
                          <a:solidFill>
                            <a:schemeClr val="tx2"/>
                          </a:solidFill>
                          <a:latin typeface="Cambria Math" panose="02040503050406030204" pitchFamily="18" charset="0"/>
                        </a:rPr>
                        <m:t>𝑋</m:t>
                      </m:r>
                      <m:r>
                        <a:rPr lang="en-GB" sz="1600" b="0" i="1" smtClean="0">
                          <a:solidFill>
                            <a:schemeClr val="tx2"/>
                          </a:solidFill>
                          <a:latin typeface="Cambria Math" panose="02040503050406030204" pitchFamily="18" charset="0"/>
                        </a:rPr>
                        <m:t>)</m:t>
                      </m:r>
                    </m:oMath>
                  </m:oMathPara>
                </a14:m>
                <a:endParaRPr lang="en-GB" sz="1600" dirty="0">
                  <a:solidFill>
                    <a:schemeClr val="tx2"/>
                  </a:solidFill>
                </a:endParaRPr>
              </a:p>
            </p:txBody>
          </p:sp>
        </mc:Choice>
        <mc:Fallback xmlns="">
          <p:sp>
            <p:nvSpPr>
              <p:cNvPr id="75" name="TextBox 74">
                <a:extLst>
                  <a:ext uri="{FF2B5EF4-FFF2-40B4-BE49-F238E27FC236}">
                    <a16:creationId xmlns:a16="http://schemas.microsoft.com/office/drawing/2014/main" id="{BF926860-F22A-C71D-2204-055BDC1BB8CF}"/>
                  </a:ext>
                </a:extLst>
              </p:cNvPr>
              <p:cNvSpPr txBox="1">
                <a:spLocks noRot="1" noChangeAspect="1" noMove="1" noResize="1" noEditPoints="1" noAdjustHandles="1" noChangeArrowheads="1" noChangeShapeType="1" noTextEdit="1"/>
              </p:cNvSpPr>
              <p:nvPr/>
            </p:nvSpPr>
            <p:spPr>
              <a:xfrm>
                <a:off x="3456421" y="1601882"/>
                <a:ext cx="1261640" cy="271036"/>
              </a:xfrm>
              <a:prstGeom prst="rect">
                <a:avLst/>
              </a:prstGeom>
              <a:blipFill>
                <a:blip r:embed="rId10"/>
                <a:stretch>
                  <a:fillRect b="-25000"/>
                </a:stretch>
              </a:blipFill>
              <a:effectLst/>
            </p:spPr>
            <p:txBody>
              <a:bodyPr/>
              <a:lstStyle/>
              <a:p>
                <a:r>
                  <a:rPr lang="en-US">
                    <a:noFill/>
                  </a:rPr>
                  <a:t> </a:t>
                </a:r>
              </a:p>
            </p:txBody>
          </p:sp>
        </mc:Fallback>
      </mc:AlternateContent>
      <p:sp>
        <p:nvSpPr>
          <p:cNvPr id="76" name="Left Brace 75">
            <a:extLst>
              <a:ext uri="{FF2B5EF4-FFF2-40B4-BE49-F238E27FC236}">
                <a16:creationId xmlns:a16="http://schemas.microsoft.com/office/drawing/2014/main" id="{67E1A67D-BDC5-8357-250D-A8D0E34502FE}"/>
              </a:ext>
            </a:extLst>
          </p:cNvPr>
          <p:cNvSpPr/>
          <p:nvPr/>
        </p:nvSpPr>
        <p:spPr>
          <a:xfrm rot="16200000">
            <a:off x="7117598" y="2502701"/>
            <a:ext cx="347845" cy="1765344"/>
          </a:xfrm>
          <a:prstGeom prst="leftBrace">
            <a:avLst>
              <a:gd name="adj1" fmla="val 8333"/>
              <a:gd name="adj2" fmla="val 5118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5D35C0FB-B179-DBD7-E6C5-E4A7420D4BE0}"/>
                  </a:ext>
                </a:extLst>
              </p:cNvPr>
              <p:cNvSpPr txBox="1"/>
              <p:nvPr/>
            </p:nvSpPr>
            <p:spPr>
              <a:xfrm>
                <a:off x="6844656" y="3572295"/>
                <a:ext cx="1261640" cy="278281"/>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bSup>
                        <m:sSubSupPr>
                          <m:ctrlPr>
                            <a:rPr lang="en-GB" sz="1600" i="1" smtClean="0">
                              <a:solidFill>
                                <a:schemeClr val="tx2"/>
                              </a:solidFill>
                              <a:latin typeface="Cambria Math" panose="02040503050406030204" pitchFamily="18" charset="0"/>
                            </a:rPr>
                          </m:ctrlPr>
                        </m:sSubSupPr>
                        <m:e>
                          <m:r>
                            <a:rPr lang="en-GB" sz="1600" b="0" i="1" smtClean="0">
                              <a:solidFill>
                                <a:schemeClr val="tx2"/>
                              </a:solidFill>
                              <a:latin typeface="Cambria Math" panose="02040503050406030204" pitchFamily="18" charset="0"/>
                            </a:rPr>
                            <m:t>𝑉</m:t>
                          </m:r>
                        </m:e>
                        <m:sub>
                          <m:r>
                            <a:rPr lang="en-GB" sz="1600" b="0" i="1" smtClean="0">
                              <a:solidFill>
                                <a:schemeClr val="tx2"/>
                              </a:solidFill>
                              <a:latin typeface="Cambria Math" panose="02040503050406030204" pitchFamily="18" charset="0"/>
                            </a:rPr>
                            <m:t>𝑖</m:t>
                          </m:r>
                        </m:sub>
                        <m:sup>
                          <m:r>
                            <a:rPr lang="en-GB" sz="1600" b="0" i="1" smtClean="0">
                              <a:solidFill>
                                <a:schemeClr val="tx2"/>
                              </a:solidFill>
                              <a:latin typeface="Cambria Math" panose="02040503050406030204" pitchFamily="18" charset="0"/>
                            </a:rPr>
                            <m:t>+</m:t>
                          </m:r>
                        </m:sup>
                      </m:sSubSup>
                      <m:r>
                        <a:rPr lang="en-GB" sz="1600" b="0" i="1" smtClean="0">
                          <a:solidFill>
                            <a:schemeClr val="tx2"/>
                          </a:solidFill>
                          <a:latin typeface="Cambria Math" panose="02040503050406030204" pitchFamily="18" charset="0"/>
                        </a:rPr>
                        <m:t> (</m:t>
                      </m:r>
                      <m:r>
                        <a:rPr lang="en-GB" sz="1600" b="0" i="1" smtClean="0">
                          <a:solidFill>
                            <a:schemeClr val="tx2"/>
                          </a:solidFill>
                          <a:latin typeface="Cambria Math" panose="02040503050406030204" pitchFamily="18" charset="0"/>
                        </a:rPr>
                        <m:t>𝑋</m:t>
                      </m:r>
                      <m:r>
                        <a:rPr lang="en-GB" sz="1600" b="0" i="1" smtClean="0">
                          <a:solidFill>
                            <a:schemeClr val="tx2"/>
                          </a:solidFill>
                          <a:latin typeface="Cambria Math" panose="02040503050406030204" pitchFamily="18" charset="0"/>
                        </a:rPr>
                        <m:t>)</m:t>
                      </m:r>
                    </m:oMath>
                  </m:oMathPara>
                </a14:m>
                <a:endParaRPr lang="en-GB" sz="1600" dirty="0">
                  <a:solidFill>
                    <a:schemeClr val="tx2"/>
                  </a:solidFill>
                </a:endParaRPr>
              </a:p>
            </p:txBody>
          </p:sp>
        </mc:Choice>
        <mc:Fallback xmlns="">
          <p:sp>
            <p:nvSpPr>
              <p:cNvPr id="77" name="TextBox 76">
                <a:extLst>
                  <a:ext uri="{FF2B5EF4-FFF2-40B4-BE49-F238E27FC236}">
                    <a16:creationId xmlns:a16="http://schemas.microsoft.com/office/drawing/2014/main" id="{5D35C0FB-B179-DBD7-E6C5-E4A7420D4BE0}"/>
                  </a:ext>
                </a:extLst>
              </p:cNvPr>
              <p:cNvSpPr txBox="1">
                <a:spLocks noRot="1" noChangeAspect="1" noMove="1" noResize="1" noEditPoints="1" noAdjustHandles="1" noChangeArrowheads="1" noChangeShapeType="1" noTextEdit="1"/>
              </p:cNvSpPr>
              <p:nvPr/>
            </p:nvSpPr>
            <p:spPr>
              <a:xfrm>
                <a:off x="6844656" y="3572295"/>
                <a:ext cx="1261640" cy="278281"/>
              </a:xfrm>
              <a:prstGeom prst="rect">
                <a:avLst/>
              </a:prstGeom>
              <a:blipFill>
                <a:blip r:embed="rId11"/>
                <a:stretch>
                  <a:fillRect b="-23913"/>
                </a:stretch>
              </a:blipFill>
              <a:effectLst/>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8" name="TextBox 77">
                <a:extLst>
                  <a:ext uri="{FF2B5EF4-FFF2-40B4-BE49-F238E27FC236}">
                    <a16:creationId xmlns:a16="http://schemas.microsoft.com/office/drawing/2014/main" id="{5D9C9CE9-C501-2730-A0CE-5533E58BBFB6}"/>
                  </a:ext>
                </a:extLst>
              </p:cNvPr>
              <p:cNvSpPr txBox="1"/>
              <p:nvPr/>
            </p:nvSpPr>
            <p:spPr>
              <a:xfrm>
                <a:off x="898334" y="5084573"/>
                <a:ext cx="1155765" cy="572529"/>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2</m:t>
                          </m:r>
                        </m:num>
                        <m:den>
                          <m:r>
                            <a:rPr lang="en-GB" b="0" i="1" smtClean="0">
                              <a:solidFill>
                                <a:schemeClr val="tx2"/>
                              </a:solidFill>
                              <a:latin typeface="Cambria Math" panose="02040503050406030204" pitchFamily="18" charset="0"/>
                            </a:rPr>
                            <m:t>5</m:t>
                          </m:r>
                        </m:den>
                      </m:f>
                    </m:oMath>
                  </m:oMathPara>
                </a14:m>
                <a:endParaRPr lang="en-GB" dirty="0">
                  <a:solidFill>
                    <a:schemeClr val="tx2"/>
                  </a:solidFill>
                </a:endParaRPr>
              </a:p>
            </p:txBody>
          </p:sp>
        </mc:Choice>
        <mc:Fallback>
          <p:sp>
            <p:nvSpPr>
              <p:cNvPr id="78" name="TextBox 77">
                <a:extLst>
                  <a:ext uri="{FF2B5EF4-FFF2-40B4-BE49-F238E27FC236}">
                    <a16:creationId xmlns:a16="http://schemas.microsoft.com/office/drawing/2014/main" id="{5D9C9CE9-C501-2730-A0CE-5533E58BBFB6}"/>
                  </a:ext>
                </a:extLst>
              </p:cNvPr>
              <p:cNvSpPr txBox="1">
                <a:spLocks noRot="1" noChangeAspect="1" noMove="1" noResize="1" noEditPoints="1" noAdjustHandles="1" noChangeArrowheads="1" noChangeShapeType="1" noTextEdit="1"/>
              </p:cNvSpPr>
              <p:nvPr/>
            </p:nvSpPr>
            <p:spPr>
              <a:xfrm>
                <a:off x="898334" y="5084573"/>
                <a:ext cx="1155765" cy="572529"/>
              </a:xfrm>
              <a:prstGeom prst="rect">
                <a:avLst/>
              </a:prstGeom>
              <a:blipFill>
                <a:blip r:embed="rId12"/>
                <a:stretch>
                  <a:fillRect/>
                </a:stretch>
              </a:blipFill>
              <a:effectLst/>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79" name="TextBox 78">
                <a:extLst>
                  <a:ext uri="{FF2B5EF4-FFF2-40B4-BE49-F238E27FC236}">
                    <a16:creationId xmlns:a16="http://schemas.microsoft.com/office/drawing/2014/main" id="{29927289-EC31-5F86-39CB-C52CE9C562FD}"/>
                  </a:ext>
                </a:extLst>
              </p:cNvPr>
              <p:cNvSpPr txBox="1"/>
              <p:nvPr/>
            </p:nvSpPr>
            <p:spPr>
              <a:xfrm>
                <a:off x="5859051" y="5090853"/>
                <a:ext cx="1155765" cy="572529"/>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3</m:t>
                          </m:r>
                        </m:num>
                        <m:den>
                          <m:r>
                            <a:rPr lang="en-GB" b="0" i="1" smtClean="0">
                              <a:solidFill>
                                <a:schemeClr val="tx2"/>
                              </a:solidFill>
                              <a:latin typeface="Cambria Math" panose="02040503050406030204" pitchFamily="18" charset="0"/>
                            </a:rPr>
                            <m:t>5</m:t>
                          </m:r>
                        </m:den>
                      </m:f>
                    </m:oMath>
                  </m:oMathPara>
                </a14:m>
                <a:endParaRPr lang="en-GB" dirty="0">
                  <a:solidFill>
                    <a:schemeClr val="tx2"/>
                  </a:solidFill>
                </a:endParaRPr>
              </a:p>
            </p:txBody>
          </p:sp>
        </mc:Choice>
        <mc:Fallback>
          <p:sp>
            <p:nvSpPr>
              <p:cNvPr id="79" name="TextBox 78">
                <a:extLst>
                  <a:ext uri="{FF2B5EF4-FFF2-40B4-BE49-F238E27FC236}">
                    <a16:creationId xmlns:a16="http://schemas.microsoft.com/office/drawing/2014/main" id="{29927289-EC31-5F86-39CB-C52CE9C562FD}"/>
                  </a:ext>
                </a:extLst>
              </p:cNvPr>
              <p:cNvSpPr txBox="1">
                <a:spLocks noRot="1" noChangeAspect="1" noMove="1" noResize="1" noEditPoints="1" noAdjustHandles="1" noChangeArrowheads="1" noChangeShapeType="1" noTextEdit="1"/>
              </p:cNvSpPr>
              <p:nvPr/>
            </p:nvSpPr>
            <p:spPr>
              <a:xfrm>
                <a:off x="5859051" y="5090853"/>
                <a:ext cx="1155765" cy="572529"/>
              </a:xfrm>
              <a:prstGeom prst="rect">
                <a:avLst/>
              </a:prstGeom>
              <a:blipFill>
                <a:blip r:embed="rId13"/>
                <a:stretch>
                  <a:fillRect/>
                </a:stretch>
              </a:blipFill>
              <a:effectLst/>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80" name="TextBox 79">
                <a:extLst>
                  <a:ext uri="{FF2B5EF4-FFF2-40B4-BE49-F238E27FC236}">
                    <a16:creationId xmlns:a16="http://schemas.microsoft.com/office/drawing/2014/main" id="{2709ABD4-295B-4E57-C916-CE697E6FC58C}"/>
                  </a:ext>
                </a:extLst>
              </p:cNvPr>
              <p:cNvSpPr txBox="1"/>
              <p:nvPr/>
            </p:nvSpPr>
            <p:spPr>
              <a:xfrm>
                <a:off x="796777" y="5641199"/>
                <a:ext cx="3326295" cy="570477"/>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m:rPr>
                          <m:sty m:val="p"/>
                        </m:rPr>
                        <a:rPr lang="el-GR" i="1" smtClean="0">
                          <a:solidFill>
                            <a:schemeClr val="tx2"/>
                          </a:solidFill>
                          <a:latin typeface="Cambria Math" panose="02040503050406030204" pitchFamily="18" charset="0"/>
                        </a:rPr>
                        <m:t>α</m:t>
                      </m:r>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m:t>
                      </m:r>
                      <m:r>
                        <m:rPr>
                          <m:sty m:val="p"/>
                        </m:rPr>
                        <a:rPr lang="en-GB" b="0" i="0" smtClean="0">
                          <a:solidFill>
                            <a:schemeClr val="tx2"/>
                          </a:solidFill>
                          <a:latin typeface="Cambria Math" panose="02040503050406030204" pitchFamily="18" charset="0"/>
                        </a:rPr>
                        <m:t>max</m:t>
                      </m:r>
                      <m:r>
                        <a:rPr lang="en-GB" b="0" i="1" smtClean="0">
                          <a:solidFill>
                            <a:schemeClr val="tx2"/>
                          </a:solidFill>
                          <a:latin typeface="Cambria Math" panose="02040503050406030204" pitchFamily="18" charset="0"/>
                        </a:rPr>
                        <m:t>⁡(</m:t>
                      </m:r>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m:t>
                      </m:r>
                      <m:sSup>
                        <m:sSupPr>
                          <m:ctrlPr>
                            <a:rPr lang="en-GB" i="1">
                              <a:solidFill>
                                <a:schemeClr val="tx2"/>
                              </a:solidFill>
                              <a:latin typeface="Cambria Math" panose="02040503050406030204" pitchFamily="18" charset="0"/>
                            </a:rPr>
                          </m:ctrlPr>
                        </m:sSupPr>
                        <m:e>
                          <m:r>
                            <m:rPr>
                              <m:sty m:val="p"/>
                            </m:rPr>
                            <a:rPr lang="el-GR" i="1">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3</m:t>
                          </m:r>
                        </m:num>
                        <m:den>
                          <m:r>
                            <a:rPr lang="en-GB" b="0" i="1" smtClean="0">
                              <a:solidFill>
                                <a:schemeClr val="tx2"/>
                              </a:solidFill>
                              <a:latin typeface="Cambria Math" panose="02040503050406030204" pitchFamily="18" charset="0"/>
                            </a:rPr>
                            <m:t>5</m:t>
                          </m:r>
                        </m:den>
                      </m:f>
                    </m:oMath>
                  </m:oMathPara>
                </a14:m>
                <a:endParaRPr lang="en-GB" dirty="0">
                  <a:solidFill>
                    <a:schemeClr val="tx2"/>
                  </a:solidFill>
                </a:endParaRPr>
              </a:p>
            </p:txBody>
          </p:sp>
        </mc:Choice>
        <mc:Fallback>
          <p:sp>
            <p:nvSpPr>
              <p:cNvPr id="80" name="TextBox 79">
                <a:extLst>
                  <a:ext uri="{FF2B5EF4-FFF2-40B4-BE49-F238E27FC236}">
                    <a16:creationId xmlns:a16="http://schemas.microsoft.com/office/drawing/2014/main" id="{2709ABD4-295B-4E57-C916-CE697E6FC58C}"/>
                  </a:ext>
                </a:extLst>
              </p:cNvPr>
              <p:cNvSpPr txBox="1">
                <a:spLocks noRot="1" noChangeAspect="1" noMove="1" noResize="1" noEditPoints="1" noAdjustHandles="1" noChangeArrowheads="1" noChangeShapeType="1" noTextEdit="1"/>
              </p:cNvSpPr>
              <p:nvPr/>
            </p:nvSpPr>
            <p:spPr>
              <a:xfrm>
                <a:off x="796777" y="5641199"/>
                <a:ext cx="3326295" cy="570477"/>
              </a:xfrm>
              <a:prstGeom prst="rect">
                <a:avLst/>
              </a:prstGeom>
              <a:blipFill>
                <a:blip r:embed="rId14"/>
                <a:stretch>
                  <a:fillRect/>
                </a:stretch>
              </a:blipFill>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47B5895D-CA36-5D0B-7E59-13D1E80BE94B}"/>
                  </a:ext>
                </a:extLst>
              </p:cNvPr>
              <p:cNvSpPr txBox="1"/>
              <p:nvPr/>
            </p:nvSpPr>
            <p:spPr>
              <a:xfrm>
                <a:off x="796776" y="6489445"/>
                <a:ext cx="6187230" cy="281103"/>
              </a:xfrm>
              <a:prstGeom prst="rect">
                <a:avLst/>
              </a:prstGeom>
              <a:noFill/>
              <a:effectLst/>
            </p:spPr>
            <p:txBody>
              <a:bodyPr wrap="square" lIns="0" tIns="0" rIns="0" bIns="0" rtlCol="0">
                <a:spAutoFit/>
              </a:bodyPr>
              <a:lstStyle/>
              <a:p>
                <a:pPr>
                  <a:lnSpc>
                    <a:spcPct val="110000"/>
                  </a:lnSpc>
                </a:pPr>
                <a:r>
                  <a:rPr lang="en-GB" dirty="0">
                    <a:solidFill>
                      <a:schemeClr val="tx2"/>
                    </a:solidFill>
                  </a:rPr>
                  <a:t>Average </a:t>
                </a:r>
                <a14:m>
                  <m:oMath xmlns:m="http://schemas.openxmlformats.org/officeDocument/2006/math">
                    <m:r>
                      <m:rPr>
                        <m:sty m:val="p"/>
                      </m:rPr>
                      <a:rPr lang="el-GR" i="1" smtClean="0">
                        <a:solidFill>
                          <a:schemeClr val="tx2"/>
                        </a:solidFill>
                        <a:latin typeface="Cambria Math" panose="02040503050406030204" pitchFamily="18" charset="0"/>
                      </a:rPr>
                      <m:t>α</m:t>
                    </m:r>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oMath>
                </a14:m>
                <a:r>
                  <a:rPr lang="en-GB" dirty="0">
                    <a:solidFill>
                      <a:schemeClr val="tx2"/>
                    </a:solidFill>
                  </a:rPr>
                  <a:t> over points in the hold out set to give </a:t>
                </a:r>
                <a14:m>
                  <m:oMath xmlns:m="http://schemas.openxmlformats.org/officeDocument/2006/math">
                    <m:acc>
                      <m:accPr>
                        <m:chr m:val="̂"/>
                        <m:ctrlPr>
                          <a:rPr lang="en-GB" i="1" smtClean="0">
                            <a:solidFill>
                              <a:schemeClr val="tx2"/>
                            </a:solidFill>
                            <a:latin typeface="Cambria Math" panose="02040503050406030204" pitchFamily="18" charset="0"/>
                          </a:rPr>
                        </m:ctrlPr>
                      </m:accPr>
                      <m:e>
                        <m:r>
                          <m:rPr>
                            <m:sty m:val="p"/>
                          </m:rPr>
                          <a:rPr lang="el-GR" i="1">
                            <a:solidFill>
                              <a:schemeClr val="tx2"/>
                            </a:solidFill>
                            <a:latin typeface="Cambria Math" panose="02040503050406030204" pitchFamily="18" charset="0"/>
                          </a:rPr>
                          <m:t>α</m:t>
                        </m:r>
                      </m:e>
                    </m:acc>
                  </m:oMath>
                </a14:m>
                <a:r>
                  <a:rPr lang="en-GB" dirty="0">
                    <a:solidFill>
                      <a:schemeClr val="tx2"/>
                    </a:solidFill>
                  </a:rPr>
                  <a:t> </a:t>
                </a:r>
              </a:p>
            </p:txBody>
          </p:sp>
        </mc:Choice>
        <mc:Fallback xmlns="">
          <p:sp>
            <p:nvSpPr>
              <p:cNvPr id="81" name="TextBox 80">
                <a:extLst>
                  <a:ext uri="{FF2B5EF4-FFF2-40B4-BE49-F238E27FC236}">
                    <a16:creationId xmlns:a16="http://schemas.microsoft.com/office/drawing/2014/main" id="{47B5895D-CA36-5D0B-7E59-13D1E80BE94B}"/>
                  </a:ext>
                </a:extLst>
              </p:cNvPr>
              <p:cNvSpPr txBox="1">
                <a:spLocks noRot="1" noChangeAspect="1" noMove="1" noResize="1" noEditPoints="1" noAdjustHandles="1" noChangeArrowheads="1" noChangeShapeType="1" noTextEdit="1"/>
              </p:cNvSpPr>
              <p:nvPr/>
            </p:nvSpPr>
            <p:spPr>
              <a:xfrm>
                <a:off x="796776" y="6489445"/>
                <a:ext cx="6187230" cy="281103"/>
              </a:xfrm>
              <a:prstGeom prst="rect">
                <a:avLst/>
              </a:prstGeom>
              <a:blipFill>
                <a:blip r:embed="rId15"/>
                <a:stretch>
                  <a:fillRect l="-2365" t="-26087" b="-50000"/>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5BEBB4D3-0874-506B-E97D-EEAED4DEE2CB}"/>
                  </a:ext>
                </a:extLst>
              </p:cNvPr>
              <p:cNvSpPr txBox="1"/>
              <p:nvPr/>
            </p:nvSpPr>
            <p:spPr>
              <a:xfrm>
                <a:off x="6040767" y="2896525"/>
                <a:ext cx="1765344"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dirty="0" smtClean="0">
                          <a:solidFill>
                            <a:schemeClr val="accent5"/>
                          </a:solidFill>
                          <a:latin typeface="Cambria Math" panose="02040503050406030204" pitchFamily="18" charset="0"/>
                          <a:ea typeface="Cambria Math" panose="02040503050406030204" pitchFamily="18" charset="0"/>
                        </a:rPr>
                        <m:t>𝝁</m:t>
                      </m:r>
                      <m:d>
                        <m:dPr>
                          <m:ctrlPr>
                            <a:rPr lang="en-GB" sz="1600" b="1" i="1" dirty="0">
                              <a:solidFill>
                                <a:schemeClr val="accent5"/>
                              </a:solidFill>
                              <a:latin typeface="Cambria Math" panose="02040503050406030204" pitchFamily="18" charset="0"/>
                            </a:rPr>
                          </m:ctrlPr>
                        </m:dPr>
                        <m:e>
                          <m:r>
                            <a:rPr lang="en-GB" sz="1600" b="1" i="1">
                              <a:solidFill>
                                <a:schemeClr val="accent5"/>
                              </a:solidFill>
                              <a:latin typeface="Cambria Math" panose="02040503050406030204" pitchFamily="18" charset="0"/>
                            </a:rPr>
                            <m:t>𝒙</m:t>
                          </m:r>
                        </m:e>
                      </m:d>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ea typeface="Cambria Math" panose="02040503050406030204" pitchFamily="18" charset="0"/>
                        </a:rPr>
                        <m:t>𝝉</m:t>
                      </m:r>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rPr>
                        <m:t>𝒙</m:t>
                      </m:r>
                      <m:r>
                        <a:rPr lang="en-GB" sz="1600" b="1" i="1" smtClean="0">
                          <a:solidFill>
                            <a:schemeClr val="accent5"/>
                          </a:solidFill>
                          <a:latin typeface="Cambria Math" panose="02040503050406030204" pitchFamily="18" charset="0"/>
                        </a:rPr>
                        <m:t>)</m:t>
                      </m:r>
                    </m:oMath>
                  </m:oMathPara>
                </a14:m>
                <a:endParaRPr lang="en-GB" sz="1600" dirty="0">
                  <a:solidFill>
                    <a:schemeClr val="accent5"/>
                  </a:solidFill>
                </a:endParaRPr>
              </a:p>
            </p:txBody>
          </p:sp>
        </mc:Choice>
        <mc:Fallback xmlns="">
          <p:sp>
            <p:nvSpPr>
              <p:cNvPr id="13" name="TextBox 12">
                <a:extLst>
                  <a:ext uri="{FF2B5EF4-FFF2-40B4-BE49-F238E27FC236}">
                    <a16:creationId xmlns:a16="http://schemas.microsoft.com/office/drawing/2014/main" id="{5BEBB4D3-0874-506B-E97D-EEAED4DEE2CB}"/>
                  </a:ext>
                </a:extLst>
              </p:cNvPr>
              <p:cNvSpPr txBox="1">
                <a:spLocks noRot="1" noChangeAspect="1" noMove="1" noResize="1" noEditPoints="1" noAdjustHandles="1" noChangeArrowheads="1" noChangeShapeType="1" noTextEdit="1"/>
              </p:cNvSpPr>
              <p:nvPr/>
            </p:nvSpPr>
            <p:spPr>
              <a:xfrm>
                <a:off x="6040767" y="2896525"/>
                <a:ext cx="1765344" cy="270843"/>
              </a:xfrm>
              <a:prstGeom prst="rect">
                <a:avLst/>
              </a:prstGeom>
              <a:blipFill>
                <a:blip r:embed="rId16"/>
                <a:stretch>
                  <a:fillRect b="-24444"/>
                </a:stretch>
              </a:blipFill>
              <a:effectLst/>
            </p:spPr>
            <p:txBody>
              <a:bodyPr/>
              <a:lstStyle/>
              <a:p>
                <a:r>
                  <a:rPr lang="en-US">
                    <a:noFill/>
                  </a:rPr>
                  <a:t> </a:t>
                </a:r>
              </a:p>
            </p:txBody>
          </p:sp>
        </mc:Fallback>
      </mc:AlternateContent>
      <p:sp>
        <p:nvSpPr>
          <p:cNvPr id="14" name="Oval 13">
            <a:extLst>
              <a:ext uri="{FF2B5EF4-FFF2-40B4-BE49-F238E27FC236}">
                <a16:creationId xmlns:a16="http://schemas.microsoft.com/office/drawing/2014/main" id="{9116A87F-3DD8-D8A1-CF63-EACED1B3755D}"/>
              </a:ext>
            </a:extLst>
          </p:cNvPr>
          <p:cNvSpPr/>
          <p:nvPr/>
        </p:nvSpPr>
        <p:spPr>
          <a:xfrm>
            <a:off x="3941407" y="2543647"/>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6" name="Oval 15">
            <a:extLst>
              <a:ext uri="{FF2B5EF4-FFF2-40B4-BE49-F238E27FC236}">
                <a16:creationId xmlns:a16="http://schemas.microsoft.com/office/drawing/2014/main" id="{5CC25530-13E2-1E34-8BB4-ED24A47E5B2F}"/>
              </a:ext>
            </a:extLst>
          </p:cNvPr>
          <p:cNvSpPr/>
          <p:nvPr/>
        </p:nvSpPr>
        <p:spPr>
          <a:xfrm>
            <a:off x="4198905" y="2540503"/>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7" name="Oval 16">
            <a:extLst>
              <a:ext uri="{FF2B5EF4-FFF2-40B4-BE49-F238E27FC236}">
                <a16:creationId xmlns:a16="http://schemas.microsoft.com/office/drawing/2014/main" id="{D21CC399-04E4-5908-7846-84E21181237A}"/>
              </a:ext>
            </a:extLst>
          </p:cNvPr>
          <p:cNvSpPr/>
          <p:nvPr/>
        </p:nvSpPr>
        <p:spPr>
          <a:xfrm>
            <a:off x="3729687" y="2538138"/>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8" name="Oval 17">
            <a:extLst>
              <a:ext uri="{FF2B5EF4-FFF2-40B4-BE49-F238E27FC236}">
                <a16:creationId xmlns:a16="http://schemas.microsoft.com/office/drawing/2014/main" id="{A7D16372-A3F6-DE35-7613-9FCD4F53F7DE}"/>
              </a:ext>
            </a:extLst>
          </p:cNvPr>
          <p:cNvSpPr/>
          <p:nvPr/>
        </p:nvSpPr>
        <p:spPr>
          <a:xfrm>
            <a:off x="3350395" y="2545040"/>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9" name="Oval 18">
            <a:extLst>
              <a:ext uri="{FF2B5EF4-FFF2-40B4-BE49-F238E27FC236}">
                <a16:creationId xmlns:a16="http://schemas.microsoft.com/office/drawing/2014/main" id="{57EDB9C2-7F0B-EFBF-31D3-73785CFED5DC}"/>
              </a:ext>
            </a:extLst>
          </p:cNvPr>
          <p:cNvSpPr/>
          <p:nvPr/>
        </p:nvSpPr>
        <p:spPr>
          <a:xfrm>
            <a:off x="3157894" y="2548911"/>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0" name="Oval 19">
            <a:extLst>
              <a:ext uri="{FF2B5EF4-FFF2-40B4-BE49-F238E27FC236}">
                <a16:creationId xmlns:a16="http://schemas.microsoft.com/office/drawing/2014/main" id="{212EC429-AA5C-DA0F-E5B0-062E08672B43}"/>
              </a:ext>
            </a:extLst>
          </p:cNvPr>
          <p:cNvSpPr/>
          <p:nvPr/>
        </p:nvSpPr>
        <p:spPr>
          <a:xfrm>
            <a:off x="7291248" y="2530128"/>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1" name="Oval 20">
            <a:extLst>
              <a:ext uri="{FF2B5EF4-FFF2-40B4-BE49-F238E27FC236}">
                <a16:creationId xmlns:a16="http://schemas.microsoft.com/office/drawing/2014/main" id="{BA16E74E-5DCE-10A3-E4FB-70D54D2A6B3C}"/>
              </a:ext>
            </a:extLst>
          </p:cNvPr>
          <p:cNvSpPr/>
          <p:nvPr/>
        </p:nvSpPr>
        <p:spPr>
          <a:xfrm>
            <a:off x="7548746" y="2526984"/>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2" name="Oval 21">
            <a:extLst>
              <a:ext uri="{FF2B5EF4-FFF2-40B4-BE49-F238E27FC236}">
                <a16:creationId xmlns:a16="http://schemas.microsoft.com/office/drawing/2014/main" id="{E1966C5B-6137-D511-AC19-2AF5C3324EC8}"/>
              </a:ext>
            </a:extLst>
          </p:cNvPr>
          <p:cNvSpPr/>
          <p:nvPr/>
        </p:nvSpPr>
        <p:spPr>
          <a:xfrm>
            <a:off x="7079528" y="2524619"/>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4" name="Oval 23">
            <a:extLst>
              <a:ext uri="{FF2B5EF4-FFF2-40B4-BE49-F238E27FC236}">
                <a16:creationId xmlns:a16="http://schemas.microsoft.com/office/drawing/2014/main" id="{91BF9446-7687-8316-B0B3-75803F193D0D}"/>
              </a:ext>
            </a:extLst>
          </p:cNvPr>
          <p:cNvSpPr/>
          <p:nvPr/>
        </p:nvSpPr>
        <p:spPr>
          <a:xfrm>
            <a:off x="6700236" y="2531521"/>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5" name="Oval 24">
            <a:extLst>
              <a:ext uri="{FF2B5EF4-FFF2-40B4-BE49-F238E27FC236}">
                <a16:creationId xmlns:a16="http://schemas.microsoft.com/office/drawing/2014/main" id="{353A8CD1-B6F7-2835-9295-6B7AFFEC458B}"/>
              </a:ext>
            </a:extLst>
          </p:cNvPr>
          <p:cNvSpPr/>
          <p:nvPr/>
        </p:nvSpPr>
        <p:spPr>
          <a:xfrm>
            <a:off x="6507735" y="2535392"/>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Tree>
    <p:extLst>
      <p:ext uri="{BB962C8B-B14F-4D97-AF65-F5344CB8AC3E}">
        <p14:creationId xmlns:p14="http://schemas.microsoft.com/office/powerpoint/2010/main" val="289180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5EFD9C-E3AC-4956-8864-3C11D0555DFF}"/>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95EFD9C-E3AC-4956-8864-3C11D0555DFF}"/>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9DD929D8-DCCA-427E-9C6E-4111CC3DA4BA}"/>
              </a:ext>
            </a:extLst>
          </p:cNvPr>
          <p:cNvSpPr>
            <a:spLocks noGrp="1"/>
          </p:cNvSpPr>
          <p:nvPr>
            <p:ph type="sldNum" sz="quarter" idx="11"/>
          </p:nvPr>
        </p:nvSpPr>
        <p:spPr/>
        <p:txBody>
          <a:bodyPr/>
          <a:lstStyle/>
          <a:p>
            <a:pPr defTabSz="914354"/>
            <a:fld id="{D94909C6-CC71-4962-A18E-AF0515723D95}" type="slidenum">
              <a:rPr lang="en-GB">
                <a:solidFill>
                  <a:srgbClr val="4D4E53"/>
                </a:solidFill>
                <a:latin typeface="Arial"/>
                <a:ea typeface="Arial Unicode MS"/>
                <a:cs typeface="Arial"/>
              </a:rPr>
              <a:pPr defTabSz="914354"/>
              <a:t>11</a:t>
            </a:fld>
            <a:endParaRPr lang="en-GB">
              <a:solidFill>
                <a:srgbClr val="4D4E53"/>
              </a:solidFill>
              <a:latin typeface="Arial"/>
              <a:ea typeface="Arial Unicode MS"/>
              <a:cs typeface="Arial"/>
            </a:endParaRPr>
          </a:p>
        </p:txBody>
      </p:sp>
      <p:sp>
        <p:nvSpPr>
          <p:cNvPr id="27" name="Arrow: Pentagon 26">
            <a:extLst>
              <a:ext uri="{FF2B5EF4-FFF2-40B4-BE49-F238E27FC236}">
                <a16:creationId xmlns:a16="http://schemas.microsoft.com/office/drawing/2014/main" id="{63DE510D-C36D-6B50-AF80-16C3E0296A9B}"/>
              </a:ext>
            </a:extLst>
          </p:cNvPr>
          <p:cNvSpPr/>
          <p:nvPr/>
        </p:nvSpPr>
        <p:spPr>
          <a:xfrm>
            <a:off x="0" y="1970248"/>
            <a:ext cx="6289040" cy="4887753"/>
          </a:xfrm>
          <a:prstGeom prst="homePlate">
            <a:avLst>
              <a:gd name="adj" fmla="val 13088"/>
            </a:avLst>
          </a:prstGeom>
          <a:noFill/>
          <a:ln w="12700" cap="flat" cmpd="sng" algn="ctr">
            <a:noFill/>
            <a:prstDash val="solid"/>
            <a:miter lim="800000"/>
          </a:ln>
          <a:effectLst/>
        </p:spPr>
        <p:txBody>
          <a:bodyPr rtlCol="0" anchor="ctr" anchorCtr="0"/>
          <a:lstStyle/>
          <a:p>
            <a:pPr algn="ctr" defTabSz="1219170">
              <a:defRPr/>
            </a:pPr>
            <a:endParaRPr lang="en-GB" sz="1867" kern="0">
              <a:solidFill>
                <a:prstClr val="white"/>
              </a:solidFill>
              <a:latin typeface="Arial"/>
              <a:ea typeface="Arial Unicode MS"/>
              <a:cs typeface="Arial"/>
            </a:endParaRPr>
          </a:p>
        </p:txBody>
      </p:sp>
      <p:sp>
        <p:nvSpPr>
          <p:cNvPr id="9" name="Title 4">
            <a:extLst>
              <a:ext uri="{FF2B5EF4-FFF2-40B4-BE49-F238E27FC236}">
                <a16:creationId xmlns:a16="http://schemas.microsoft.com/office/drawing/2014/main" id="{2EE1B889-AA8A-0DF8-FDEB-98428F59AD7B}"/>
              </a:ext>
            </a:extLst>
          </p:cNvPr>
          <p:cNvSpPr>
            <a:spLocks noGrp="1"/>
          </p:cNvSpPr>
          <p:nvPr>
            <p:ph type="title"/>
          </p:nvPr>
        </p:nvSpPr>
        <p:spPr>
          <a:xfrm>
            <a:off x="408000" y="480000"/>
            <a:ext cx="9024000" cy="816000"/>
          </a:xfrm>
        </p:spPr>
        <p:txBody>
          <a:bodyPr vert="horz"/>
          <a:lstStyle/>
          <a:p>
            <a:r>
              <a:rPr lang="en-US" dirty="0">
                <a:solidFill>
                  <a:schemeClr val="tx1"/>
                </a:solidFill>
              </a:rPr>
              <a:t>Computation of Failure Probability : Proposed methodology</a:t>
            </a:r>
            <a:br>
              <a:rPr lang="en-GB" dirty="0">
                <a:solidFill>
                  <a:srgbClr val="0066FF"/>
                </a:solidFill>
              </a:rPr>
            </a:br>
            <a:r>
              <a:rPr lang="en-GB" sz="2133" dirty="0">
                <a:solidFill>
                  <a:schemeClr val="bg1">
                    <a:lumMod val="50000"/>
                  </a:schemeClr>
                </a:solidFill>
              </a:rPr>
              <a:t>Under covariate shift</a:t>
            </a:r>
            <a:endParaRPr lang="en-GB" sz="1867" dirty="0">
              <a:solidFill>
                <a:schemeClr val="bg1">
                  <a:lumMod val="50000"/>
                </a:schemeClr>
              </a:solidFill>
            </a:endParaRPr>
          </a:p>
        </p:txBody>
      </p:sp>
      <p:pic>
        <p:nvPicPr>
          <p:cNvPr id="2" name="Picture 1">
            <a:extLst>
              <a:ext uri="{FF2B5EF4-FFF2-40B4-BE49-F238E27FC236}">
                <a16:creationId xmlns:a16="http://schemas.microsoft.com/office/drawing/2014/main" id="{C2F71877-D6FE-AE19-4B67-7F389A9F3473}"/>
              </a:ext>
            </a:extLst>
          </p:cNvPr>
          <p:cNvPicPr>
            <a:picLocks noChangeAspect="1"/>
          </p:cNvPicPr>
          <p:nvPr/>
        </p:nvPicPr>
        <p:blipFill>
          <a:blip r:embed="rId6"/>
          <a:stretch>
            <a:fillRect/>
          </a:stretch>
        </p:blipFill>
        <p:spPr>
          <a:xfrm>
            <a:off x="796777" y="4370336"/>
            <a:ext cx="4212000" cy="652670"/>
          </a:xfrm>
          <a:prstGeom prst="rect">
            <a:avLst/>
          </a:prstGeom>
        </p:spPr>
      </p:pic>
      <p:pic>
        <p:nvPicPr>
          <p:cNvPr id="5" name="Picture 4">
            <a:extLst>
              <a:ext uri="{FF2B5EF4-FFF2-40B4-BE49-F238E27FC236}">
                <a16:creationId xmlns:a16="http://schemas.microsoft.com/office/drawing/2014/main" id="{B78AFB0D-8994-D34A-E902-245928AB535B}"/>
              </a:ext>
            </a:extLst>
          </p:cNvPr>
          <p:cNvPicPr>
            <a:picLocks noChangeAspect="1"/>
          </p:cNvPicPr>
          <p:nvPr/>
        </p:nvPicPr>
        <p:blipFill>
          <a:blip r:embed="rId7"/>
          <a:stretch>
            <a:fillRect/>
          </a:stretch>
        </p:blipFill>
        <p:spPr>
          <a:xfrm>
            <a:off x="5805554" y="4414347"/>
            <a:ext cx="4242357" cy="751330"/>
          </a:xfrm>
          <a:prstGeom prst="rect">
            <a:avLst/>
          </a:prstGeom>
        </p:spPr>
      </p:pic>
      <p:cxnSp>
        <p:nvCxnSpPr>
          <p:cNvPr id="4" name="Straight Arrow Connector 3">
            <a:extLst>
              <a:ext uri="{FF2B5EF4-FFF2-40B4-BE49-F238E27FC236}">
                <a16:creationId xmlns:a16="http://schemas.microsoft.com/office/drawing/2014/main" id="{DBA6F32E-8CF6-CC24-4C53-A48F528EA745}"/>
              </a:ext>
            </a:extLst>
          </p:cNvPr>
          <p:cNvCxnSpPr>
            <a:cxnSpLocks/>
          </p:cNvCxnSpPr>
          <p:nvPr/>
        </p:nvCxnSpPr>
        <p:spPr>
          <a:xfrm>
            <a:off x="898334" y="2604014"/>
            <a:ext cx="10116273" cy="0"/>
          </a:xfrm>
          <a:prstGeom prst="straightConnector1">
            <a:avLst/>
          </a:prstGeom>
          <a:ln w="1905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AF6010-5945-7BB4-EDB4-8FA0F58CE937}"/>
              </a:ext>
            </a:extLst>
          </p:cNvPr>
          <p:cNvCxnSpPr>
            <a:cxnSpLocks/>
          </p:cNvCxnSpPr>
          <p:nvPr/>
        </p:nvCxnSpPr>
        <p:spPr>
          <a:xfrm>
            <a:off x="5296713" y="2407245"/>
            <a:ext cx="0" cy="196769"/>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DD59343-15DF-0AB3-9102-E4312716A432}"/>
                  </a:ext>
                </a:extLst>
              </p:cNvPr>
              <p:cNvSpPr txBox="1"/>
              <p:nvPr/>
            </p:nvSpPr>
            <p:spPr>
              <a:xfrm>
                <a:off x="4886779" y="2712045"/>
                <a:ext cx="972272"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smtClean="0">
                          <a:solidFill>
                            <a:srgbClr val="00B050"/>
                          </a:solidFill>
                          <a:latin typeface="Cambria Math" panose="02040503050406030204" pitchFamily="18" charset="0"/>
                          <a:ea typeface="Cambria Math" panose="02040503050406030204" pitchFamily="18" charset="0"/>
                        </a:rPr>
                        <m:t>𝝁</m:t>
                      </m:r>
                      <m:r>
                        <a:rPr lang="en-GB" sz="1600" b="1" i="1" smtClean="0">
                          <a:solidFill>
                            <a:srgbClr val="00B050"/>
                          </a:solidFill>
                          <a:latin typeface="Cambria Math" panose="02040503050406030204" pitchFamily="18" charset="0"/>
                        </a:rPr>
                        <m:t>(</m:t>
                      </m:r>
                      <m:r>
                        <a:rPr lang="en-GB" sz="1600" b="1" i="1" smtClean="0">
                          <a:solidFill>
                            <a:srgbClr val="00B050"/>
                          </a:solidFill>
                          <a:latin typeface="Cambria Math" panose="02040503050406030204" pitchFamily="18" charset="0"/>
                        </a:rPr>
                        <m:t>𝒙</m:t>
                      </m:r>
                      <m:r>
                        <a:rPr lang="en-GB" sz="1600" b="1" i="1" smtClean="0">
                          <a:solidFill>
                            <a:srgbClr val="00B050"/>
                          </a:solidFill>
                          <a:latin typeface="Cambria Math" panose="02040503050406030204" pitchFamily="18" charset="0"/>
                        </a:rPr>
                        <m:t>)</m:t>
                      </m:r>
                    </m:oMath>
                  </m:oMathPara>
                </a14:m>
                <a:endParaRPr lang="en-GB" sz="1600" dirty="0">
                  <a:solidFill>
                    <a:srgbClr val="00B050"/>
                  </a:solidFill>
                </a:endParaRPr>
              </a:p>
            </p:txBody>
          </p:sp>
        </mc:Choice>
        <mc:Fallback xmlns="">
          <p:sp>
            <p:nvSpPr>
              <p:cNvPr id="6" name="TextBox 5">
                <a:extLst>
                  <a:ext uri="{FF2B5EF4-FFF2-40B4-BE49-F238E27FC236}">
                    <a16:creationId xmlns:a16="http://schemas.microsoft.com/office/drawing/2014/main" id="{3DD59343-15DF-0AB3-9102-E4312716A432}"/>
                  </a:ext>
                </a:extLst>
              </p:cNvPr>
              <p:cNvSpPr txBox="1">
                <a:spLocks noRot="1" noChangeAspect="1" noMove="1" noResize="1" noEditPoints="1" noAdjustHandles="1" noChangeArrowheads="1" noChangeShapeType="1" noTextEdit="1"/>
              </p:cNvSpPr>
              <p:nvPr/>
            </p:nvSpPr>
            <p:spPr>
              <a:xfrm>
                <a:off x="4886779" y="2712045"/>
                <a:ext cx="972272" cy="270843"/>
              </a:xfrm>
              <a:prstGeom prst="rect">
                <a:avLst/>
              </a:prstGeom>
              <a:blipFill>
                <a:blip r:embed="rId8"/>
                <a:stretch>
                  <a:fillRect b="-25000"/>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41816757-2614-BE6E-EA64-7DE8395AD21F}"/>
                  </a:ext>
                </a:extLst>
              </p:cNvPr>
              <p:cNvSpPr txBox="1"/>
              <p:nvPr/>
            </p:nvSpPr>
            <p:spPr>
              <a:xfrm>
                <a:off x="2772365" y="2918082"/>
                <a:ext cx="1765344"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dirty="0" smtClean="0">
                          <a:solidFill>
                            <a:schemeClr val="accent5"/>
                          </a:solidFill>
                          <a:latin typeface="Cambria Math" panose="02040503050406030204" pitchFamily="18" charset="0"/>
                          <a:ea typeface="Cambria Math" panose="02040503050406030204" pitchFamily="18" charset="0"/>
                        </a:rPr>
                        <m:t>𝝁</m:t>
                      </m:r>
                      <m:d>
                        <m:dPr>
                          <m:ctrlPr>
                            <a:rPr lang="en-GB" sz="1600" b="1" i="1" dirty="0">
                              <a:solidFill>
                                <a:schemeClr val="accent5"/>
                              </a:solidFill>
                              <a:latin typeface="Cambria Math" panose="02040503050406030204" pitchFamily="18" charset="0"/>
                            </a:rPr>
                          </m:ctrlPr>
                        </m:dPr>
                        <m:e>
                          <m:r>
                            <a:rPr lang="en-GB" sz="1600" b="1" i="1">
                              <a:solidFill>
                                <a:schemeClr val="accent5"/>
                              </a:solidFill>
                              <a:latin typeface="Cambria Math" panose="02040503050406030204" pitchFamily="18" charset="0"/>
                            </a:rPr>
                            <m:t>𝒙</m:t>
                          </m:r>
                        </m:e>
                      </m:d>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ea typeface="Cambria Math" panose="02040503050406030204" pitchFamily="18" charset="0"/>
                        </a:rPr>
                        <m:t>𝝉</m:t>
                      </m:r>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rPr>
                        <m:t>𝒙</m:t>
                      </m:r>
                      <m:r>
                        <a:rPr lang="en-GB" sz="1600" b="1" i="1" smtClean="0">
                          <a:solidFill>
                            <a:schemeClr val="accent5"/>
                          </a:solidFill>
                          <a:latin typeface="Cambria Math" panose="02040503050406030204" pitchFamily="18" charset="0"/>
                        </a:rPr>
                        <m:t>)</m:t>
                      </m:r>
                    </m:oMath>
                  </m:oMathPara>
                </a14:m>
                <a:endParaRPr lang="en-GB" sz="1600" dirty="0">
                  <a:solidFill>
                    <a:schemeClr val="accent5"/>
                  </a:solidFill>
                </a:endParaRPr>
              </a:p>
            </p:txBody>
          </p:sp>
        </mc:Choice>
        <mc:Fallback xmlns="">
          <p:sp>
            <p:nvSpPr>
              <p:cNvPr id="8" name="TextBox 7">
                <a:extLst>
                  <a:ext uri="{FF2B5EF4-FFF2-40B4-BE49-F238E27FC236}">
                    <a16:creationId xmlns:a16="http://schemas.microsoft.com/office/drawing/2014/main" id="{41816757-2614-BE6E-EA64-7DE8395AD21F}"/>
                  </a:ext>
                </a:extLst>
              </p:cNvPr>
              <p:cNvSpPr txBox="1">
                <a:spLocks noRot="1" noChangeAspect="1" noMove="1" noResize="1" noEditPoints="1" noAdjustHandles="1" noChangeArrowheads="1" noChangeShapeType="1" noTextEdit="1"/>
              </p:cNvSpPr>
              <p:nvPr/>
            </p:nvSpPr>
            <p:spPr>
              <a:xfrm>
                <a:off x="2772365" y="2918082"/>
                <a:ext cx="1765344" cy="270843"/>
              </a:xfrm>
              <a:prstGeom prst="rect">
                <a:avLst/>
              </a:prstGeom>
              <a:blipFill>
                <a:blip r:embed="rId9"/>
                <a:stretch>
                  <a:fillRect b="-25000"/>
                </a:stretch>
              </a:blipFill>
              <a:effectLst/>
            </p:spPr>
            <p:txBody>
              <a:bodyPr/>
              <a:lstStyle/>
              <a:p>
                <a:r>
                  <a:rPr lang="en-US">
                    <a:noFill/>
                  </a:rPr>
                  <a:t> </a:t>
                </a:r>
              </a:p>
            </p:txBody>
          </p:sp>
        </mc:Fallback>
      </mc:AlternateContent>
      <p:cxnSp>
        <p:nvCxnSpPr>
          <p:cNvPr id="32" name="Straight Connector 31">
            <a:extLst>
              <a:ext uri="{FF2B5EF4-FFF2-40B4-BE49-F238E27FC236}">
                <a16:creationId xmlns:a16="http://schemas.microsoft.com/office/drawing/2014/main" id="{905BAAC0-21CA-E5AA-E587-33091B43603F}"/>
              </a:ext>
            </a:extLst>
          </p:cNvPr>
          <p:cNvCxnSpPr>
            <a:cxnSpLocks/>
          </p:cNvCxnSpPr>
          <p:nvPr/>
        </p:nvCxnSpPr>
        <p:spPr>
          <a:xfrm>
            <a:off x="3655037" y="2291500"/>
            <a:ext cx="0" cy="58259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D833CC8-9D58-F3A2-EF25-11D70AB9E799}"/>
              </a:ext>
            </a:extLst>
          </p:cNvPr>
          <p:cNvCxnSpPr>
            <a:cxnSpLocks/>
          </p:cNvCxnSpPr>
          <p:nvPr/>
        </p:nvCxnSpPr>
        <p:spPr>
          <a:xfrm>
            <a:off x="6923439" y="2312718"/>
            <a:ext cx="0" cy="582592"/>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BCA7CB4-D67A-BC53-4028-F1D7ED345DB3}"/>
              </a:ext>
            </a:extLst>
          </p:cNvPr>
          <p:cNvCxnSpPr>
            <a:cxnSpLocks/>
          </p:cNvCxnSpPr>
          <p:nvPr/>
        </p:nvCxnSpPr>
        <p:spPr>
          <a:xfrm flipH="1">
            <a:off x="3655037" y="2604014"/>
            <a:ext cx="3268402"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4" name="Left Brace 73">
            <a:extLst>
              <a:ext uri="{FF2B5EF4-FFF2-40B4-BE49-F238E27FC236}">
                <a16:creationId xmlns:a16="http://schemas.microsoft.com/office/drawing/2014/main" id="{3694A44D-0631-95F6-B747-B86FBA5C0473}"/>
              </a:ext>
            </a:extLst>
          </p:cNvPr>
          <p:cNvSpPr/>
          <p:nvPr/>
        </p:nvSpPr>
        <p:spPr>
          <a:xfrm rot="5400000">
            <a:off x="3668542" y="1136155"/>
            <a:ext cx="443699" cy="1961909"/>
          </a:xfrm>
          <a:prstGeom prst="leftBrace">
            <a:avLst>
              <a:gd name="adj1" fmla="val 8333"/>
              <a:gd name="adj2" fmla="val 5118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75" name="TextBox 74">
                <a:extLst>
                  <a:ext uri="{FF2B5EF4-FFF2-40B4-BE49-F238E27FC236}">
                    <a16:creationId xmlns:a16="http://schemas.microsoft.com/office/drawing/2014/main" id="{BF926860-F22A-C71D-2204-055BDC1BB8CF}"/>
                  </a:ext>
                </a:extLst>
              </p:cNvPr>
              <p:cNvSpPr txBox="1"/>
              <p:nvPr/>
            </p:nvSpPr>
            <p:spPr>
              <a:xfrm>
                <a:off x="3456421" y="1601882"/>
                <a:ext cx="1261640" cy="271036"/>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bSup>
                        <m:sSubSupPr>
                          <m:ctrlPr>
                            <a:rPr lang="en-GB" sz="1600" i="1" smtClean="0">
                              <a:solidFill>
                                <a:schemeClr val="tx2"/>
                              </a:solidFill>
                              <a:latin typeface="Cambria Math" panose="02040503050406030204" pitchFamily="18" charset="0"/>
                            </a:rPr>
                          </m:ctrlPr>
                        </m:sSubSupPr>
                        <m:e>
                          <m:r>
                            <a:rPr lang="en-GB" sz="1600" b="0" i="1" smtClean="0">
                              <a:solidFill>
                                <a:schemeClr val="tx2"/>
                              </a:solidFill>
                              <a:latin typeface="Cambria Math" panose="02040503050406030204" pitchFamily="18" charset="0"/>
                            </a:rPr>
                            <m:t>𝑉</m:t>
                          </m:r>
                        </m:e>
                        <m:sub>
                          <m:r>
                            <a:rPr lang="en-GB" sz="1600" b="0" i="1" smtClean="0">
                              <a:solidFill>
                                <a:schemeClr val="tx2"/>
                              </a:solidFill>
                              <a:latin typeface="Cambria Math" panose="02040503050406030204" pitchFamily="18" charset="0"/>
                            </a:rPr>
                            <m:t>𝑖</m:t>
                          </m:r>
                        </m:sub>
                        <m:sup>
                          <m:r>
                            <a:rPr lang="en-GB" sz="1600" b="0" i="1" smtClean="0">
                              <a:solidFill>
                                <a:schemeClr val="tx2"/>
                              </a:solidFill>
                              <a:latin typeface="Cambria Math" panose="02040503050406030204" pitchFamily="18" charset="0"/>
                            </a:rPr>
                            <m:t>−</m:t>
                          </m:r>
                        </m:sup>
                      </m:sSubSup>
                      <m:r>
                        <a:rPr lang="en-GB" sz="1600" b="0" i="1" smtClean="0">
                          <a:solidFill>
                            <a:schemeClr val="tx2"/>
                          </a:solidFill>
                          <a:latin typeface="Cambria Math" panose="02040503050406030204" pitchFamily="18" charset="0"/>
                        </a:rPr>
                        <m:t> (</m:t>
                      </m:r>
                      <m:r>
                        <a:rPr lang="en-GB" sz="1600" b="0" i="1" smtClean="0">
                          <a:solidFill>
                            <a:schemeClr val="tx2"/>
                          </a:solidFill>
                          <a:latin typeface="Cambria Math" panose="02040503050406030204" pitchFamily="18" charset="0"/>
                        </a:rPr>
                        <m:t>𝑋</m:t>
                      </m:r>
                      <m:r>
                        <a:rPr lang="en-GB" sz="1600" b="0" i="1" smtClean="0">
                          <a:solidFill>
                            <a:schemeClr val="tx2"/>
                          </a:solidFill>
                          <a:latin typeface="Cambria Math" panose="02040503050406030204" pitchFamily="18" charset="0"/>
                        </a:rPr>
                        <m:t>)</m:t>
                      </m:r>
                    </m:oMath>
                  </m:oMathPara>
                </a14:m>
                <a:endParaRPr lang="en-GB" sz="1600" dirty="0">
                  <a:solidFill>
                    <a:schemeClr val="tx2"/>
                  </a:solidFill>
                </a:endParaRPr>
              </a:p>
            </p:txBody>
          </p:sp>
        </mc:Choice>
        <mc:Fallback xmlns="">
          <p:sp>
            <p:nvSpPr>
              <p:cNvPr id="75" name="TextBox 74">
                <a:extLst>
                  <a:ext uri="{FF2B5EF4-FFF2-40B4-BE49-F238E27FC236}">
                    <a16:creationId xmlns:a16="http://schemas.microsoft.com/office/drawing/2014/main" id="{BF926860-F22A-C71D-2204-055BDC1BB8CF}"/>
                  </a:ext>
                </a:extLst>
              </p:cNvPr>
              <p:cNvSpPr txBox="1">
                <a:spLocks noRot="1" noChangeAspect="1" noMove="1" noResize="1" noEditPoints="1" noAdjustHandles="1" noChangeArrowheads="1" noChangeShapeType="1" noTextEdit="1"/>
              </p:cNvSpPr>
              <p:nvPr/>
            </p:nvSpPr>
            <p:spPr>
              <a:xfrm>
                <a:off x="3456421" y="1601882"/>
                <a:ext cx="1261640" cy="271036"/>
              </a:xfrm>
              <a:prstGeom prst="rect">
                <a:avLst/>
              </a:prstGeom>
              <a:blipFill>
                <a:blip r:embed="rId10"/>
                <a:stretch>
                  <a:fillRect b="-25000"/>
                </a:stretch>
              </a:blipFill>
              <a:effectLst/>
            </p:spPr>
            <p:txBody>
              <a:bodyPr/>
              <a:lstStyle/>
              <a:p>
                <a:r>
                  <a:rPr lang="en-US">
                    <a:noFill/>
                  </a:rPr>
                  <a:t> </a:t>
                </a:r>
              </a:p>
            </p:txBody>
          </p:sp>
        </mc:Fallback>
      </mc:AlternateContent>
      <p:sp>
        <p:nvSpPr>
          <p:cNvPr id="76" name="Left Brace 75">
            <a:extLst>
              <a:ext uri="{FF2B5EF4-FFF2-40B4-BE49-F238E27FC236}">
                <a16:creationId xmlns:a16="http://schemas.microsoft.com/office/drawing/2014/main" id="{67E1A67D-BDC5-8357-250D-A8D0E34502FE}"/>
              </a:ext>
            </a:extLst>
          </p:cNvPr>
          <p:cNvSpPr/>
          <p:nvPr/>
        </p:nvSpPr>
        <p:spPr>
          <a:xfrm rot="16200000">
            <a:off x="7117598" y="2502701"/>
            <a:ext cx="347845" cy="1765344"/>
          </a:xfrm>
          <a:prstGeom prst="leftBrace">
            <a:avLst>
              <a:gd name="adj1" fmla="val 8333"/>
              <a:gd name="adj2" fmla="val 5118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77" name="TextBox 76">
                <a:extLst>
                  <a:ext uri="{FF2B5EF4-FFF2-40B4-BE49-F238E27FC236}">
                    <a16:creationId xmlns:a16="http://schemas.microsoft.com/office/drawing/2014/main" id="{5D35C0FB-B179-DBD7-E6C5-E4A7420D4BE0}"/>
                  </a:ext>
                </a:extLst>
              </p:cNvPr>
              <p:cNvSpPr txBox="1"/>
              <p:nvPr/>
            </p:nvSpPr>
            <p:spPr>
              <a:xfrm>
                <a:off x="6844656" y="3572295"/>
                <a:ext cx="1261640" cy="278281"/>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bSup>
                        <m:sSubSupPr>
                          <m:ctrlPr>
                            <a:rPr lang="en-GB" sz="1600" i="1" smtClean="0">
                              <a:solidFill>
                                <a:schemeClr val="tx2"/>
                              </a:solidFill>
                              <a:latin typeface="Cambria Math" panose="02040503050406030204" pitchFamily="18" charset="0"/>
                            </a:rPr>
                          </m:ctrlPr>
                        </m:sSubSupPr>
                        <m:e>
                          <m:r>
                            <a:rPr lang="en-GB" sz="1600" b="0" i="1" smtClean="0">
                              <a:solidFill>
                                <a:schemeClr val="tx2"/>
                              </a:solidFill>
                              <a:latin typeface="Cambria Math" panose="02040503050406030204" pitchFamily="18" charset="0"/>
                            </a:rPr>
                            <m:t>𝑉</m:t>
                          </m:r>
                        </m:e>
                        <m:sub>
                          <m:r>
                            <a:rPr lang="en-GB" sz="1600" b="0" i="1" smtClean="0">
                              <a:solidFill>
                                <a:schemeClr val="tx2"/>
                              </a:solidFill>
                              <a:latin typeface="Cambria Math" panose="02040503050406030204" pitchFamily="18" charset="0"/>
                            </a:rPr>
                            <m:t>𝑖</m:t>
                          </m:r>
                        </m:sub>
                        <m:sup>
                          <m:r>
                            <a:rPr lang="en-GB" sz="1600" b="0" i="1" smtClean="0">
                              <a:solidFill>
                                <a:schemeClr val="tx2"/>
                              </a:solidFill>
                              <a:latin typeface="Cambria Math" panose="02040503050406030204" pitchFamily="18" charset="0"/>
                            </a:rPr>
                            <m:t>+</m:t>
                          </m:r>
                        </m:sup>
                      </m:sSubSup>
                      <m:r>
                        <a:rPr lang="en-GB" sz="1600" b="0" i="1" smtClean="0">
                          <a:solidFill>
                            <a:schemeClr val="tx2"/>
                          </a:solidFill>
                          <a:latin typeface="Cambria Math" panose="02040503050406030204" pitchFamily="18" charset="0"/>
                        </a:rPr>
                        <m:t> (</m:t>
                      </m:r>
                      <m:r>
                        <a:rPr lang="en-GB" sz="1600" b="0" i="1" smtClean="0">
                          <a:solidFill>
                            <a:schemeClr val="tx2"/>
                          </a:solidFill>
                          <a:latin typeface="Cambria Math" panose="02040503050406030204" pitchFamily="18" charset="0"/>
                        </a:rPr>
                        <m:t>𝑋</m:t>
                      </m:r>
                      <m:r>
                        <a:rPr lang="en-GB" sz="1600" b="0" i="1" smtClean="0">
                          <a:solidFill>
                            <a:schemeClr val="tx2"/>
                          </a:solidFill>
                          <a:latin typeface="Cambria Math" panose="02040503050406030204" pitchFamily="18" charset="0"/>
                        </a:rPr>
                        <m:t>)</m:t>
                      </m:r>
                    </m:oMath>
                  </m:oMathPara>
                </a14:m>
                <a:endParaRPr lang="en-GB" sz="1600" dirty="0">
                  <a:solidFill>
                    <a:schemeClr val="tx2"/>
                  </a:solidFill>
                </a:endParaRPr>
              </a:p>
            </p:txBody>
          </p:sp>
        </mc:Choice>
        <mc:Fallback xmlns="">
          <p:sp>
            <p:nvSpPr>
              <p:cNvPr id="77" name="TextBox 76">
                <a:extLst>
                  <a:ext uri="{FF2B5EF4-FFF2-40B4-BE49-F238E27FC236}">
                    <a16:creationId xmlns:a16="http://schemas.microsoft.com/office/drawing/2014/main" id="{5D35C0FB-B179-DBD7-E6C5-E4A7420D4BE0}"/>
                  </a:ext>
                </a:extLst>
              </p:cNvPr>
              <p:cNvSpPr txBox="1">
                <a:spLocks noRot="1" noChangeAspect="1" noMove="1" noResize="1" noEditPoints="1" noAdjustHandles="1" noChangeArrowheads="1" noChangeShapeType="1" noTextEdit="1"/>
              </p:cNvSpPr>
              <p:nvPr/>
            </p:nvSpPr>
            <p:spPr>
              <a:xfrm>
                <a:off x="6844656" y="3572295"/>
                <a:ext cx="1261640" cy="278281"/>
              </a:xfrm>
              <a:prstGeom prst="rect">
                <a:avLst/>
              </a:prstGeom>
              <a:blipFill>
                <a:blip r:embed="rId11"/>
                <a:stretch>
                  <a:fillRect b="-23913"/>
                </a:stretch>
              </a:blipFill>
              <a:effectLst/>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8" name="TextBox 77">
                <a:extLst>
                  <a:ext uri="{FF2B5EF4-FFF2-40B4-BE49-F238E27FC236}">
                    <a16:creationId xmlns:a16="http://schemas.microsoft.com/office/drawing/2014/main" id="{5D9C9CE9-C501-2730-A0CE-5533E58BBFB6}"/>
                  </a:ext>
                </a:extLst>
              </p:cNvPr>
              <p:cNvSpPr txBox="1"/>
              <p:nvPr/>
            </p:nvSpPr>
            <p:spPr>
              <a:xfrm>
                <a:off x="898334" y="5084573"/>
                <a:ext cx="2235356" cy="572464"/>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m:t>
                      </m:r>
                      <m:r>
                        <a:rPr lang="en-GB" b="0" i="1" smtClean="0">
                          <a:solidFill>
                            <a:schemeClr val="tx2"/>
                          </a:solidFill>
                          <a:latin typeface="Cambria Math" panose="02040503050406030204" pitchFamily="18" charset="0"/>
                        </a:rPr>
                        <m:t> </m:t>
                      </m:r>
                      <m:sSub>
                        <m:sSubPr>
                          <m:ctrlPr>
                            <a:rPr lang="en-GB" b="0"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𝑝</m:t>
                          </m:r>
                        </m:e>
                        <m:sub>
                          <m:r>
                            <a:rPr lang="en-GB" b="0" i="1" smtClean="0">
                              <a:solidFill>
                                <a:schemeClr val="tx2"/>
                              </a:solidFill>
                              <a:latin typeface="Cambria Math" panose="02040503050406030204" pitchFamily="18" charset="0"/>
                            </a:rPr>
                            <m:t>1</m:t>
                          </m:r>
                        </m:sub>
                      </m:sSub>
                      <m:r>
                        <a:rPr lang="en-GB" b="0" i="1" smtClean="0">
                          <a:solidFill>
                            <a:schemeClr val="tx2"/>
                          </a:solidFill>
                          <a:latin typeface="Cambria Math" panose="02040503050406030204" pitchFamily="18" charset="0"/>
                        </a:rPr>
                        <m:t>+</m:t>
                      </m:r>
                      <m:sSub>
                        <m:sSubPr>
                          <m:ctrlPr>
                            <a:rPr lang="en-GB" b="0"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𝑝</m:t>
                          </m:r>
                        </m:e>
                        <m:sub>
                          <m:r>
                            <a:rPr lang="en-GB" b="0" i="1" smtClean="0">
                              <a:solidFill>
                                <a:schemeClr val="tx2"/>
                              </a:solidFill>
                              <a:latin typeface="Cambria Math" panose="02040503050406030204" pitchFamily="18" charset="0"/>
                            </a:rPr>
                            <m:t>2</m:t>
                          </m:r>
                        </m:sub>
                      </m:sSub>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3</m:t>
                          </m:r>
                        </m:num>
                        <m:den>
                          <m:r>
                            <a:rPr lang="en-GB" b="0" i="1" smtClean="0">
                              <a:solidFill>
                                <a:schemeClr val="tx2"/>
                              </a:solidFill>
                              <a:latin typeface="Cambria Math" panose="02040503050406030204" pitchFamily="18" charset="0"/>
                            </a:rPr>
                            <m:t>8</m:t>
                          </m:r>
                        </m:den>
                      </m:f>
                    </m:oMath>
                  </m:oMathPara>
                </a14:m>
                <a:endParaRPr lang="en-GB" dirty="0">
                  <a:solidFill>
                    <a:schemeClr val="tx2"/>
                  </a:solidFill>
                </a:endParaRPr>
              </a:p>
            </p:txBody>
          </p:sp>
        </mc:Choice>
        <mc:Fallback>
          <p:sp>
            <p:nvSpPr>
              <p:cNvPr id="78" name="TextBox 77">
                <a:extLst>
                  <a:ext uri="{FF2B5EF4-FFF2-40B4-BE49-F238E27FC236}">
                    <a16:creationId xmlns:a16="http://schemas.microsoft.com/office/drawing/2014/main" id="{5D9C9CE9-C501-2730-A0CE-5533E58BBFB6}"/>
                  </a:ext>
                </a:extLst>
              </p:cNvPr>
              <p:cNvSpPr txBox="1">
                <a:spLocks noRot="1" noChangeAspect="1" noMove="1" noResize="1" noEditPoints="1" noAdjustHandles="1" noChangeArrowheads="1" noChangeShapeType="1" noTextEdit="1"/>
              </p:cNvSpPr>
              <p:nvPr/>
            </p:nvSpPr>
            <p:spPr>
              <a:xfrm>
                <a:off x="898334" y="5084573"/>
                <a:ext cx="2235356" cy="572464"/>
              </a:xfrm>
              <a:prstGeom prst="rect">
                <a:avLst/>
              </a:prstGeom>
              <a:blipFill>
                <a:blip r:embed="rId12"/>
                <a:stretch>
                  <a:fillRect/>
                </a:stretch>
              </a:blipFill>
              <a:effectLst/>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79" name="TextBox 78">
                <a:extLst>
                  <a:ext uri="{FF2B5EF4-FFF2-40B4-BE49-F238E27FC236}">
                    <a16:creationId xmlns:a16="http://schemas.microsoft.com/office/drawing/2014/main" id="{29927289-EC31-5F86-39CB-C52CE9C562FD}"/>
                  </a:ext>
                </a:extLst>
              </p:cNvPr>
              <p:cNvSpPr txBox="1"/>
              <p:nvPr/>
            </p:nvSpPr>
            <p:spPr>
              <a:xfrm>
                <a:off x="5859051" y="5090853"/>
                <a:ext cx="2804357" cy="578556"/>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i="1">
                          <a:solidFill>
                            <a:schemeClr val="tx2"/>
                          </a:solidFill>
                          <a:latin typeface="Cambria Math" panose="02040503050406030204" pitchFamily="18" charset="0"/>
                        </a:rPr>
                        <m:t>= </m:t>
                      </m:r>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𝑝</m:t>
                          </m:r>
                        </m:e>
                        <m:sub>
                          <m:r>
                            <a:rPr lang="en-GB" b="0" i="1" smtClean="0">
                              <a:solidFill>
                                <a:schemeClr val="tx2"/>
                              </a:solidFill>
                              <a:latin typeface="Cambria Math" panose="02040503050406030204" pitchFamily="18" charset="0"/>
                            </a:rPr>
                            <m:t>3</m:t>
                          </m:r>
                        </m:sub>
                      </m:sSub>
                      <m:r>
                        <a:rPr lang="en-GB" i="1">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𝑝</m:t>
                          </m:r>
                        </m:e>
                        <m:sub>
                          <m:r>
                            <a:rPr lang="en-GB" b="0" i="1" smtClean="0">
                              <a:solidFill>
                                <a:schemeClr val="tx2"/>
                              </a:solidFill>
                              <a:latin typeface="Cambria Math" panose="02040503050406030204" pitchFamily="18" charset="0"/>
                            </a:rPr>
                            <m:t>4</m:t>
                          </m:r>
                        </m:sub>
                      </m:sSub>
                      <m:r>
                        <a:rPr lang="en-GB" b="0" i="1" smtClean="0">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𝑝</m:t>
                          </m:r>
                        </m:e>
                        <m:sub>
                          <m:r>
                            <a:rPr lang="en-GB" b="0" i="1" smtClean="0">
                              <a:solidFill>
                                <a:schemeClr val="tx2"/>
                              </a:solidFill>
                              <a:latin typeface="Cambria Math" panose="02040503050406030204" pitchFamily="18" charset="0"/>
                            </a:rPr>
                            <m:t>5</m:t>
                          </m:r>
                        </m:sub>
                      </m:sSub>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5</m:t>
                          </m:r>
                        </m:num>
                        <m:den>
                          <m:r>
                            <a:rPr lang="en-GB" b="0" i="1" smtClean="0">
                              <a:solidFill>
                                <a:schemeClr val="tx2"/>
                              </a:solidFill>
                              <a:latin typeface="Cambria Math" panose="02040503050406030204" pitchFamily="18" charset="0"/>
                            </a:rPr>
                            <m:t>8</m:t>
                          </m:r>
                        </m:den>
                      </m:f>
                    </m:oMath>
                  </m:oMathPara>
                </a14:m>
                <a:endParaRPr lang="en-GB" dirty="0">
                  <a:solidFill>
                    <a:schemeClr val="tx2"/>
                  </a:solidFill>
                </a:endParaRPr>
              </a:p>
            </p:txBody>
          </p:sp>
        </mc:Choice>
        <mc:Fallback>
          <p:sp>
            <p:nvSpPr>
              <p:cNvPr id="79" name="TextBox 78">
                <a:extLst>
                  <a:ext uri="{FF2B5EF4-FFF2-40B4-BE49-F238E27FC236}">
                    <a16:creationId xmlns:a16="http://schemas.microsoft.com/office/drawing/2014/main" id="{29927289-EC31-5F86-39CB-C52CE9C562FD}"/>
                  </a:ext>
                </a:extLst>
              </p:cNvPr>
              <p:cNvSpPr txBox="1">
                <a:spLocks noRot="1" noChangeAspect="1" noMove="1" noResize="1" noEditPoints="1" noAdjustHandles="1" noChangeArrowheads="1" noChangeShapeType="1" noTextEdit="1"/>
              </p:cNvSpPr>
              <p:nvPr/>
            </p:nvSpPr>
            <p:spPr>
              <a:xfrm>
                <a:off x="5859051" y="5090853"/>
                <a:ext cx="2804357" cy="578556"/>
              </a:xfrm>
              <a:prstGeom prst="rect">
                <a:avLst/>
              </a:prstGeom>
              <a:blipFill>
                <a:blip r:embed="rId13"/>
                <a:stretch>
                  <a:fillRect/>
                </a:stretch>
              </a:blipFill>
              <a:effectLst/>
            </p:spPr>
            <p:txBody>
              <a:bodyPr/>
              <a:lstStyle/>
              <a:p>
                <a:r>
                  <a:rPr lang="en-GB">
                    <a:noFill/>
                  </a:rPr>
                  <a:t> </a:t>
                </a:r>
              </a:p>
            </p:txBody>
          </p:sp>
        </mc:Fallback>
      </mc:AlternateContent>
      <mc:AlternateContent xmlns:mc="http://schemas.openxmlformats.org/markup-compatibility/2006">
        <mc:Choice xmlns:a14="http://schemas.microsoft.com/office/drawing/2010/main" Requires="a14">
          <p:sp>
            <p:nvSpPr>
              <p:cNvPr id="80" name="TextBox 79">
                <a:extLst>
                  <a:ext uri="{FF2B5EF4-FFF2-40B4-BE49-F238E27FC236}">
                    <a16:creationId xmlns:a16="http://schemas.microsoft.com/office/drawing/2014/main" id="{2709ABD4-295B-4E57-C916-CE697E6FC58C}"/>
                  </a:ext>
                </a:extLst>
              </p:cNvPr>
              <p:cNvSpPr txBox="1"/>
              <p:nvPr/>
            </p:nvSpPr>
            <p:spPr>
              <a:xfrm>
                <a:off x="796777" y="5641199"/>
                <a:ext cx="3326295" cy="598754"/>
              </a:xfrm>
              <a:prstGeom prst="rect">
                <a:avLst/>
              </a:prstGeom>
              <a:noFill/>
              <a:effectLst/>
            </p:spPr>
            <p:txBody>
              <a:bodyPr wrap="non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m:rPr>
                          <m:sty m:val="p"/>
                        </m:rPr>
                        <a:rPr lang="el-GR" i="1" smtClean="0">
                          <a:solidFill>
                            <a:schemeClr val="tx2"/>
                          </a:solidFill>
                          <a:latin typeface="Cambria Math" panose="02040503050406030204" pitchFamily="18" charset="0"/>
                        </a:rPr>
                        <m:t>α</m:t>
                      </m:r>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m:t>
                      </m:r>
                      <m:r>
                        <m:rPr>
                          <m:sty m:val="p"/>
                        </m:rPr>
                        <a:rPr lang="en-GB" b="0" i="0" smtClean="0">
                          <a:solidFill>
                            <a:schemeClr val="tx2"/>
                          </a:solidFill>
                          <a:latin typeface="Cambria Math" panose="02040503050406030204" pitchFamily="18" charset="0"/>
                        </a:rPr>
                        <m:t>max</m:t>
                      </m:r>
                      <m:r>
                        <a:rPr lang="en-GB" b="0" i="1" smtClean="0">
                          <a:solidFill>
                            <a:schemeClr val="tx2"/>
                          </a:solidFill>
                          <a:latin typeface="Cambria Math" panose="02040503050406030204" pitchFamily="18" charset="0"/>
                        </a:rPr>
                        <m:t>⁡(</m:t>
                      </m:r>
                      <m:sSup>
                        <m:sSupPr>
                          <m:ctrlPr>
                            <a:rPr lang="en-GB" i="1" smtClean="0">
                              <a:solidFill>
                                <a:schemeClr val="tx2"/>
                              </a:solidFill>
                              <a:latin typeface="Cambria Math" panose="02040503050406030204" pitchFamily="18" charset="0"/>
                            </a:rPr>
                          </m:ctrlPr>
                        </m:sSupPr>
                        <m:e>
                          <m:r>
                            <m:rPr>
                              <m:sty m:val="p"/>
                            </m:rPr>
                            <a:rPr lang="el-GR" i="1" smtClean="0">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b="0" i="1" smtClean="0">
                              <a:solidFill>
                                <a:schemeClr val="tx2"/>
                              </a:solidFill>
                              <a:latin typeface="Cambria Math" panose="02040503050406030204" pitchFamily="18" charset="0"/>
                            </a:rPr>
                          </m:ctrlPr>
                        </m:dPr>
                        <m:e>
                          <m:r>
                            <a:rPr lang="en-GB" b="0" i="1" smtClean="0">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m:t>
                      </m:r>
                      <m:sSup>
                        <m:sSupPr>
                          <m:ctrlPr>
                            <a:rPr lang="en-GB" i="1">
                              <a:solidFill>
                                <a:schemeClr val="tx2"/>
                              </a:solidFill>
                              <a:latin typeface="Cambria Math" panose="02040503050406030204" pitchFamily="18" charset="0"/>
                            </a:rPr>
                          </m:ctrlPr>
                        </m:sSupPr>
                        <m:e>
                          <m:r>
                            <m:rPr>
                              <m:sty m:val="p"/>
                            </m:rPr>
                            <a:rPr lang="el-GR" i="1">
                              <a:solidFill>
                                <a:schemeClr val="tx2"/>
                              </a:solidFill>
                              <a:latin typeface="Cambria Math" panose="02040503050406030204" pitchFamily="18" charset="0"/>
                            </a:rPr>
                            <m:t>α</m:t>
                          </m:r>
                        </m:e>
                        <m:sup>
                          <m:r>
                            <a:rPr lang="en-GB" b="0" i="1" smtClean="0">
                              <a:solidFill>
                                <a:schemeClr val="tx2"/>
                              </a:solidFill>
                              <a:latin typeface="Cambria Math" panose="02040503050406030204" pitchFamily="18" charset="0"/>
                            </a:rPr>
                            <m:t>+</m:t>
                          </m:r>
                        </m:sup>
                      </m:sSup>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r>
                        <a:rPr lang="en-GB" b="0" i="1" smtClean="0">
                          <a:solidFill>
                            <a:schemeClr val="tx2"/>
                          </a:solidFill>
                          <a:latin typeface="Cambria Math" panose="02040503050406030204" pitchFamily="18" charset="0"/>
                        </a:rPr>
                        <m:t>)= </m:t>
                      </m:r>
                      <m:f>
                        <m:fPr>
                          <m:ctrlPr>
                            <a:rPr lang="en-GB" b="0" i="1" smtClean="0">
                              <a:solidFill>
                                <a:schemeClr val="tx2"/>
                              </a:solidFill>
                              <a:latin typeface="Cambria Math" panose="02040503050406030204" pitchFamily="18" charset="0"/>
                            </a:rPr>
                          </m:ctrlPr>
                        </m:fPr>
                        <m:num>
                          <m:r>
                            <a:rPr lang="en-GB" b="0" i="1" smtClean="0">
                              <a:solidFill>
                                <a:schemeClr val="tx2"/>
                              </a:solidFill>
                              <a:latin typeface="Cambria Math" panose="02040503050406030204" pitchFamily="18" charset="0"/>
                            </a:rPr>
                            <m:t>5</m:t>
                          </m:r>
                        </m:num>
                        <m:den>
                          <m:r>
                            <a:rPr lang="en-GB" b="0" i="1" smtClean="0">
                              <a:solidFill>
                                <a:schemeClr val="tx2"/>
                              </a:solidFill>
                              <a:latin typeface="Cambria Math" panose="02040503050406030204" pitchFamily="18" charset="0"/>
                            </a:rPr>
                            <m:t>8</m:t>
                          </m:r>
                        </m:den>
                      </m:f>
                    </m:oMath>
                  </m:oMathPara>
                </a14:m>
                <a:endParaRPr lang="en-GB" dirty="0">
                  <a:solidFill>
                    <a:schemeClr val="tx2"/>
                  </a:solidFill>
                </a:endParaRPr>
              </a:p>
            </p:txBody>
          </p:sp>
        </mc:Choice>
        <mc:Fallback>
          <p:sp>
            <p:nvSpPr>
              <p:cNvPr id="80" name="TextBox 79">
                <a:extLst>
                  <a:ext uri="{FF2B5EF4-FFF2-40B4-BE49-F238E27FC236}">
                    <a16:creationId xmlns:a16="http://schemas.microsoft.com/office/drawing/2014/main" id="{2709ABD4-295B-4E57-C916-CE697E6FC58C}"/>
                  </a:ext>
                </a:extLst>
              </p:cNvPr>
              <p:cNvSpPr txBox="1">
                <a:spLocks noRot="1" noChangeAspect="1" noMove="1" noResize="1" noEditPoints="1" noAdjustHandles="1" noChangeArrowheads="1" noChangeShapeType="1" noTextEdit="1"/>
              </p:cNvSpPr>
              <p:nvPr/>
            </p:nvSpPr>
            <p:spPr>
              <a:xfrm>
                <a:off x="796777" y="5641199"/>
                <a:ext cx="3326295" cy="598754"/>
              </a:xfrm>
              <a:prstGeom prst="rect">
                <a:avLst/>
              </a:prstGeom>
              <a:blipFill>
                <a:blip r:embed="rId14"/>
                <a:stretch>
                  <a:fillRect/>
                </a:stretch>
              </a:blipFill>
              <a:effectLst/>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47B5895D-CA36-5D0B-7E59-13D1E80BE94B}"/>
                  </a:ext>
                </a:extLst>
              </p:cNvPr>
              <p:cNvSpPr txBox="1"/>
              <p:nvPr/>
            </p:nvSpPr>
            <p:spPr>
              <a:xfrm>
                <a:off x="796776" y="6489445"/>
                <a:ext cx="6187230" cy="281103"/>
              </a:xfrm>
              <a:prstGeom prst="rect">
                <a:avLst/>
              </a:prstGeom>
              <a:noFill/>
              <a:effectLst/>
            </p:spPr>
            <p:txBody>
              <a:bodyPr wrap="square" lIns="0" tIns="0" rIns="0" bIns="0" rtlCol="0">
                <a:spAutoFit/>
              </a:bodyPr>
              <a:lstStyle/>
              <a:p>
                <a:pPr>
                  <a:lnSpc>
                    <a:spcPct val="110000"/>
                  </a:lnSpc>
                </a:pPr>
                <a:r>
                  <a:rPr lang="en-GB" dirty="0">
                    <a:solidFill>
                      <a:schemeClr val="tx2"/>
                    </a:solidFill>
                  </a:rPr>
                  <a:t>Average </a:t>
                </a:r>
                <a14:m>
                  <m:oMath xmlns:m="http://schemas.openxmlformats.org/officeDocument/2006/math">
                    <m:r>
                      <m:rPr>
                        <m:sty m:val="p"/>
                      </m:rPr>
                      <a:rPr lang="el-GR" i="1" smtClean="0">
                        <a:solidFill>
                          <a:schemeClr val="tx2"/>
                        </a:solidFill>
                        <a:latin typeface="Cambria Math" panose="02040503050406030204" pitchFamily="18" charset="0"/>
                      </a:rPr>
                      <m:t>α</m:t>
                    </m:r>
                    <m:d>
                      <m:dPr>
                        <m:ctrlPr>
                          <a:rPr lang="en-GB" i="1">
                            <a:solidFill>
                              <a:schemeClr val="tx2"/>
                            </a:solidFill>
                            <a:latin typeface="Cambria Math" panose="02040503050406030204" pitchFamily="18" charset="0"/>
                          </a:rPr>
                        </m:ctrlPr>
                      </m:dPr>
                      <m:e>
                        <m:r>
                          <a:rPr lang="en-GB" i="1">
                            <a:solidFill>
                              <a:schemeClr val="tx2"/>
                            </a:solidFill>
                            <a:latin typeface="Cambria Math" panose="02040503050406030204" pitchFamily="18" charset="0"/>
                          </a:rPr>
                          <m:t>𝑋</m:t>
                        </m:r>
                      </m:e>
                    </m:d>
                  </m:oMath>
                </a14:m>
                <a:r>
                  <a:rPr lang="en-GB" dirty="0">
                    <a:solidFill>
                      <a:schemeClr val="tx2"/>
                    </a:solidFill>
                  </a:rPr>
                  <a:t> over points in the hold out set to give </a:t>
                </a:r>
                <a14:m>
                  <m:oMath xmlns:m="http://schemas.openxmlformats.org/officeDocument/2006/math">
                    <m:acc>
                      <m:accPr>
                        <m:chr m:val="̂"/>
                        <m:ctrlPr>
                          <a:rPr lang="en-GB" i="1" smtClean="0">
                            <a:solidFill>
                              <a:schemeClr val="tx2"/>
                            </a:solidFill>
                            <a:latin typeface="Cambria Math" panose="02040503050406030204" pitchFamily="18" charset="0"/>
                          </a:rPr>
                        </m:ctrlPr>
                      </m:accPr>
                      <m:e>
                        <m:r>
                          <m:rPr>
                            <m:sty m:val="p"/>
                          </m:rPr>
                          <a:rPr lang="el-GR" i="1">
                            <a:solidFill>
                              <a:schemeClr val="tx2"/>
                            </a:solidFill>
                            <a:latin typeface="Cambria Math" panose="02040503050406030204" pitchFamily="18" charset="0"/>
                          </a:rPr>
                          <m:t>α</m:t>
                        </m:r>
                      </m:e>
                    </m:acc>
                  </m:oMath>
                </a14:m>
                <a:r>
                  <a:rPr lang="en-GB" dirty="0">
                    <a:solidFill>
                      <a:schemeClr val="tx2"/>
                    </a:solidFill>
                  </a:rPr>
                  <a:t> </a:t>
                </a:r>
              </a:p>
            </p:txBody>
          </p:sp>
        </mc:Choice>
        <mc:Fallback xmlns="">
          <p:sp>
            <p:nvSpPr>
              <p:cNvPr id="81" name="TextBox 80">
                <a:extLst>
                  <a:ext uri="{FF2B5EF4-FFF2-40B4-BE49-F238E27FC236}">
                    <a16:creationId xmlns:a16="http://schemas.microsoft.com/office/drawing/2014/main" id="{47B5895D-CA36-5D0B-7E59-13D1E80BE94B}"/>
                  </a:ext>
                </a:extLst>
              </p:cNvPr>
              <p:cNvSpPr txBox="1">
                <a:spLocks noRot="1" noChangeAspect="1" noMove="1" noResize="1" noEditPoints="1" noAdjustHandles="1" noChangeArrowheads="1" noChangeShapeType="1" noTextEdit="1"/>
              </p:cNvSpPr>
              <p:nvPr/>
            </p:nvSpPr>
            <p:spPr>
              <a:xfrm>
                <a:off x="796776" y="6489445"/>
                <a:ext cx="6187230" cy="281103"/>
              </a:xfrm>
              <a:prstGeom prst="rect">
                <a:avLst/>
              </a:prstGeom>
              <a:blipFill>
                <a:blip r:embed="rId15"/>
                <a:stretch>
                  <a:fillRect l="-2365" t="-26087" b="-50000"/>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5BEBB4D3-0874-506B-E97D-EEAED4DEE2CB}"/>
                  </a:ext>
                </a:extLst>
              </p:cNvPr>
              <p:cNvSpPr txBox="1"/>
              <p:nvPr/>
            </p:nvSpPr>
            <p:spPr>
              <a:xfrm>
                <a:off x="6040767" y="2896525"/>
                <a:ext cx="1765344" cy="270843"/>
              </a:xfrm>
              <a:prstGeom prst="rect">
                <a:avLst/>
              </a:prstGeom>
              <a:noFill/>
              <a:effectLst/>
            </p:spPr>
            <p:txBody>
              <a:bodyPr wrap="square" lIns="0" tIns="0" rIns="0" bIns="0" rtlCol="0">
                <a:spAutoFit/>
              </a:bodyPr>
              <a:lstStyle/>
              <a:p>
                <a:pPr>
                  <a:lnSpc>
                    <a:spcPct val="110000"/>
                  </a:lnSpc>
                </a:pPr>
                <a14:m>
                  <m:oMathPara xmlns:m="http://schemas.openxmlformats.org/officeDocument/2006/math">
                    <m:oMathParaPr>
                      <m:jc m:val="centerGroup"/>
                    </m:oMathParaPr>
                    <m:oMath xmlns:m="http://schemas.openxmlformats.org/officeDocument/2006/math">
                      <m:r>
                        <a:rPr lang="en-GB" sz="1600" b="1" i="1" dirty="0" smtClean="0">
                          <a:solidFill>
                            <a:schemeClr val="accent5"/>
                          </a:solidFill>
                          <a:latin typeface="Cambria Math" panose="02040503050406030204" pitchFamily="18" charset="0"/>
                          <a:ea typeface="Cambria Math" panose="02040503050406030204" pitchFamily="18" charset="0"/>
                        </a:rPr>
                        <m:t>𝝁</m:t>
                      </m:r>
                      <m:d>
                        <m:dPr>
                          <m:ctrlPr>
                            <a:rPr lang="en-GB" sz="1600" b="1" i="1" dirty="0">
                              <a:solidFill>
                                <a:schemeClr val="accent5"/>
                              </a:solidFill>
                              <a:latin typeface="Cambria Math" panose="02040503050406030204" pitchFamily="18" charset="0"/>
                            </a:rPr>
                          </m:ctrlPr>
                        </m:dPr>
                        <m:e>
                          <m:r>
                            <a:rPr lang="en-GB" sz="1600" b="1" i="1">
                              <a:solidFill>
                                <a:schemeClr val="accent5"/>
                              </a:solidFill>
                              <a:latin typeface="Cambria Math" panose="02040503050406030204" pitchFamily="18" charset="0"/>
                            </a:rPr>
                            <m:t>𝒙</m:t>
                          </m:r>
                        </m:e>
                      </m:d>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ea typeface="Cambria Math" panose="02040503050406030204" pitchFamily="18" charset="0"/>
                        </a:rPr>
                        <m:t>𝝉</m:t>
                      </m:r>
                      <m:r>
                        <a:rPr lang="en-GB" sz="1600" b="1" i="1" smtClean="0">
                          <a:solidFill>
                            <a:schemeClr val="accent5"/>
                          </a:solidFill>
                          <a:latin typeface="Cambria Math" panose="02040503050406030204" pitchFamily="18" charset="0"/>
                        </a:rPr>
                        <m:t>(</m:t>
                      </m:r>
                      <m:r>
                        <a:rPr lang="en-GB" sz="1600" b="1" i="1" smtClean="0">
                          <a:solidFill>
                            <a:schemeClr val="accent5"/>
                          </a:solidFill>
                          <a:latin typeface="Cambria Math" panose="02040503050406030204" pitchFamily="18" charset="0"/>
                        </a:rPr>
                        <m:t>𝒙</m:t>
                      </m:r>
                      <m:r>
                        <a:rPr lang="en-GB" sz="1600" b="1" i="1" smtClean="0">
                          <a:solidFill>
                            <a:schemeClr val="accent5"/>
                          </a:solidFill>
                          <a:latin typeface="Cambria Math" panose="02040503050406030204" pitchFamily="18" charset="0"/>
                        </a:rPr>
                        <m:t>)</m:t>
                      </m:r>
                    </m:oMath>
                  </m:oMathPara>
                </a14:m>
                <a:endParaRPr lang="en-GB" sz="1600" dirty="0">
                  <a:solidFill>
                    <a:schemeClr val="accent5"/>
                  </a:solidFill>
                </a:endParaRPr>
              </a:p>
            </p:txBody>
          </p:sp>
        </mc:Choice>
        <mc:Fallback xmlns="">
          <p:sp>
            <p:nvSpPr>
              <p:cNvPr id="13" name="TextBox 12">
                <a:extLst>
                  <a:ext uri="{FF2B5EF4-FFF2-40B4-BE49-F238E27FC236}">
                    <a16:creationId xmlns:a16="http://schemas.microsoft.com/office/drawing/2014/main" id="{5BEBB4D3-0874-506B-E97D-EEAED4DEE2CB}"/>
                  </a:ext>
                </a:extLst>
              </p:cNvPr>
              <p:cNvSpPr txBox="1">
                <a:spLocks noRot="1" noChangeAspect="1" noMove="1" noResize="1" noEditPoints="1" noAdjustHandles="1" noChangeArrowheads="1" noChangeShapeType="1" noTextEdit="1"/>
              </p:cNvSpPr>
              <p:nvPr/>
            </p:nvSpPr>
            <p:spPr>
              <a:xfrm>
                <a:off x="6040767" y="2896525"/>
                <a:ext cx="1765344" cy="270843"/>
              </a:xfrm>
              <a:prstGeom prst="rect">
                <a:avLst/>
              </a:prstGeom>
              <a:blipFill>
                <a:blip r:embed="rId16"/>
                <a:stretch>
                  <a:fillRect b="-24444"/>
                </a:stretch>
              </a:blipFill>
              <a:effectLst/>
            </p:spPr>
            <p:txBody>
              <a:bodyPr/>
              <a:lstStyle/>
              <a:p>
                <a:r>
                  <a:rPr lang="en-US">
                    <a:noFill/>
                  </a:rPr>
                  <a:t> </a:t>
                </a:r>
              </a:p>
            </p:txBody>
          </p:sp>
        </mc:Fallback>
      </mc:AlternateContent>
      <p:sp>
        <p:nvSpPr>
          <p:cNvPr id="14" name="Oval 13">
            <a:extLst>
              <a:ext uri="{FF2B5EF4-FFF2-40B4-BE49-F238E27FC236}">
                <a16:creationId xmlns:a16="http://schemas.microsoft.com/office/drawing/2014/main" id="{9116A87F-3DD8-D8A1-CF63-EACED1B3755D}"/>
              </a:ext>
            </a:extLst>
          </p:cNvPr>
          <p:cNvSpPr/>
          <p:nvPr/>
        </p:nvSpPr>
        <p:spPr>
          <a:xfrm>
            <a:off x="3941407" y="2543647"/>
            <a:ext cx="137070" cy="14171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6" name="Oval 15">
            <a:extLst>
              <a:ext uri="{FF2B5EF4-FFF2-40B4-BE49-F238E27FC236}">
                <a16:creationId xmlns:a16="http://schemas.microsoft.com/office/drawing/2014/main" id="{5CC25530-13E2-1E34-8BB4-ED24A47E5B2F}"/>
              </a:ext>
            </a:extLst>
          </p:cNvPr>
          <p:cNvSpPr/>
          <p:nvPr/>
        </p:nvSpPr>
        <p:spPr>
          <a:xfrm>
            <a:off x="4198905" y="2540503"/>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7" name="Oval 16">
            <a:extLst>
              <a:ext uri="{FF2B5EF4-FFF2-40B4-BE49-F238E27FC236}">
                <a16:creationId xmlns:a16="http://schemas.microsoft.com/office/drawing/2014/main" id="{D21CC399-04E4-5908-7846-84E21181237A}"/>
              </a:ext>
            </a:extLst>
          </p:cNvPr>
          <p:cNvSpPr/>
          <p:nvPr/>
        </p:nvSpPr>
        <p:spPr>
          <a:xfrm>
            <a:off x="3729687" y="2538138"/>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8" name="Oval 17">
            <a:extLst>
              <a:ext uri="{FF2B5EF4-FFF2-40B4-BE49-F238E27FC236}">
                <a16:creationId xmlns:a16="http://schemas.microsoft.com/office/drawing/2014/main" id="{A7D16372-A3F6-DE35-7613-9FCD4F53F7DE}"/>
              </a:ext>
            </a:extLst>
          </p:cNvPr>
          <p:cNvSpPr/>
          <p:nvPr/>
        </p:nvSpPr>
        <p:spPr>
          <a:xfrm>
            <a:off x="3350395" y="2545040"/>
            <a:ext cx="137070" cy="14171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9" name="Oval 18">
            <a:extLst>
              <a:ext uri="{FF2B5EF4-FFF2-40B4-BE49-F238E27FC236}">
                <a16:creationId xmlns:a16="http://schemas.microsoft.com/office/drawing/2014/main" id="{57EDB9C2-7F0B-EFBF-31D3-73785CFED5DC}"/>
              </a:ext>
            </a:extLst>
          </p:cNvPr>
          <p:cNvSpPr/>
          <p:nvPr/>
        </p:nvSpPr>
        <p:spPr>
          <a:xfrm>
            <a:off x="3157894" y="2548911"/>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0" name="Oval 19">
            <a:extLst>
              <a:ext uri="{FF2B5EF4-FFF2-40B4-BE49-F238E27FC236}">
                <a16:creationId xmlns:a16="http://schemas.microsoft.com/office/drawing/2014/main" id="{212EC429-AA5C-DA0F-E5B0-062E08672B43}"/>
              </a:ext>
            </a:extLst>
          </p:cNvPr>
          <p:cNvSpPr/>
          <p:nvPr/>
        </p:nvSpPr>
        <p:spPr>
          <a:xfrm>
            <a:off x="7291248" y="2530128"/>
            <a:ext cx="137070" cy="141714"/>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1" name="Oval 20">
            <a:extLst>
              <a:ext uri="{FF2B5EF4-FFF2-40B4-BE49-F238E27FC236}">
                <a16:creationId xmlns:a16="http://schemas.microsoft.com/office/drawing/2014/main" id="{BA16E74E-5DCE-10A3-E4FB-70D54D2A6B3C}"/>
              </a:ext>
            </a:extLst>
          </p:cNvPr>
          <p:cNvSpPr/>
          <p:nvPr/>
        </p:nvSpPr>
        <p:spPr>
          <a:xfrm>
            <a:off x="7548746" y="2526984"/>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2" name="Oval 21">
            <a:extLst>
              <a:ext uri="{FF2B5EF4-FFF2-40B4-BE49-F238E27FC236}">
                <a16:creationId xmlns:a16="http://schemas.microsoft.com/office/drawing/2014/main" id="{E1966C5B-6137-D511-AC19-2AF5C3324EC8}"/>
              </a:ext>
            </a:extLst>
          </p:cNvPr>
          <p:cNvSpPr/>
          <p:nvPr/>
        </p:nvSpPr>
        <p:spPr>
          <a:xfrm>
            <a:off x="7079528" y="2524619"/>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4" name="Oval 23">
            <a:extLst>
              <a:ext uri="{FF2B5EF4-FFF2-40B4-BE49-F238E27FC236}">
                <a16:creationId xmlns:a16="http://schemas.microsoft.com/office/drawing/2014/main" id="{91BF9446-7687-8316-B0B3-75803F193D0D}"/>
              </a:ext>
            </a:extLst>
          </p:cNvPr>
          <p:cNvSpPr/>
          <p:nvPr/>
        </p:nvSpPr>
        <p:spPr>
          <a:xfrm>
            <a:off x="6700236" y="2531521"/>
            <a:ext cx="137070" cy="141714"/>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5" name="Oval 24">
            <a:extLst>
              <a:ext uri="{FF2B5EF4-FFF2-40B4-BE49-F238E27FC236}">
                <a16:creationId xmlns:a16="http://schemas.microsoft.com/office/drawing/2014/main" id="{353A8CD1-B6F7-2835-9295-6B7AFFEC458B}"/>
              </a:ext>
            </a:extLst>
          </p:cNvPr>
          <p:cNvSpPr/>
          <p:nvPr/>
        </p:nvSpPr>
        <p:spPr>
          <a:xfrm>
            <a:off x="6507735" y="2535392"/>
            <a:ext cx="137070" cy="14171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10" name="TextBox 9">
            <a:extLst>
              <a:ext uri="{FF2B5EF4-FFF2-40B4-BE49-F238E27FC236}">
                <a16:creationId xmlns:a16="http://schemas.microsoft.com/office/drawing/2014/main" id="{A5D6B730-BD7E-612D-CB78-424EDEB88936}"/>
              </a:ext>
            </a:extLst>
          </p:cNvPr>
          <p:cNvSpPr txBox="1"/>
          <p:nvPr/>
        </p:nvSpPr>
        <p:spPr>
          <a:xfrm>
            <a:off x="824071" y="3991903"/>
            <a:ext cx="7282225" cy="281103"/>
          </a:xfrm>
          <a:prstGeom prst="rect">
            <a:avLst/>
          </a:prstGeom>
          <a:noFill/>
          <a:effectLst/>
        </p:spPr>
        <p:txBody>
          <a:bodyPr wrap="square" lIns="0" tIns="0" rIns="0" bIns="0" rtlCol="0">
            <a:spAutoFit/>
          </a:bodyPr>
          <a:lstStyle/>
          <a:p>
            <a:pPr>
              <a:lnSpc>
                <a:spcPct val="110000"/>
              </a:lnSpc>
            </a:pPr>
            <a:r>
              <a:rPr lang="en-GB" i="1" dirty="0">
                <a:solidFill>
                  <a:schemeClr val="tx2"/>
                </a:solidFill>
              </a:rPr>
              <a:t>Under covariate shift where weights are known for </a:t>
            </a:r>
            <a:r>
              <a:rPr lang="en-GB" i="1" dirty="0" err="1">
                <a:solidFill>
                  <a:schemeClr val="tx2"/>
                </a:solidFill>
              </a:rPr>
              <a:t>e,g</a:t>
            </a:r>
            <a:r>
              <a:rPr lang="en-GB" i="1" dirty="0">
                <a:solidFill>
                  <a:schemeClr val="tx2"/>
                </a:solidFill>
              </a:rPr>
              <a:t> assume</a:t>
            </a:r>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78B1CB91-79CD-2719-FBB7-25C2E0A14B1F}"/>
                  </a:ext>
                </a:extLst>
              </p:cNvPr>
              <p:cNvSpPr txBox="1"/>
              <p:nvPr/>
            </p:nvSpPr>
            <p:spPr>
              <a:xfrm>
                <a:off x="7877679" y="3947796"/>
                <a:ext cx="807082" cy="369332"/>
              </a:xfrm>
              <a:prstGeom prst="rect">
                <a:avLst/>
              </a:prstGeom>
              <a:noFill/>
              <a:effectLst/>
            </p:spPr>
            <p:txBody>
              <a:bodyPr wrap="square">
                <a:spAutoFit/>
              </a:bodyPr>
              <a:lstStyle/>
              <a:p>
                <a:pPr/>
                <a14:m>
                  <m:oMathPara xmlns:m="http://schemas.openxmlformats.org/officeDocument/2006/math">
                    <m:oMathParaPr>
                      <m:jc m:val="centerGroup"/>
                    </m:oMathParaPr>
                    <m:oMath xmlns:m="http://schemas.openxmlformats.org/officeDocument/2006/math">
                      <m:r>
                        <a:rPr lang="en-GB" b="0" i="1" smtClean="0">
                          <a:solidFill>
                            <a:schemeClr val="tx2"/>
                          </a:solidFill>
                          <a:latin typeface="Cambria Math" panose="02040503050406030204" pitchFamily="18" charset="0"/>
                        </a:rPr>
                        <m:t>=2∗</m:t>
                      </m:r>
                    </m:oMath>
                  </m:oMathPara>
                </a14:m>
                <a:endParaRPr lang="en-GB" dirty="0"/>
              </a:p>
            </p:txBody>
          </p:sp>
        </mc:Choice>
        <mc:Fallback xmlns="">
          <p:sp>
            <p:nvSpPr>
              <p:cNvPr id="28" name="TextBox 27">
                <a:extLst>
                  <a:ext uri="{FF2B5EF4-FFF2-40B4-BE49-F238E27FC236}">
                    <a16:creationId xmlns:a16="http://schemas.microsoft.com/office/drawing/2014/main" id="{78B1CB91-79CD-2719-FBB7-25C2E0A14B1F}"/>
                  </a:ext>
                </a:extLst>
              </p:cNvPr>
              <p:cNvSpPr txBox="1">
                <a:spLocks noRot="1" noChangeAspect="1" noMove="1" noResize="1" noEditPoints="1" noAdjustHandles="1" noChangeArrowheads="1" noChangeShapeType="1" noTextEdit="1"/>
              </p:cNvSpPr>
              <p:nvPr/>
            </p:nvSpPr>
            <p:spPr>
              <a:xfrm>
                <a:off x="7877679" y="3947796"/>
                <a:ext cx="807082" cy="369332"/>
              </a:xfrm>
              <a:prstGeom prst="rect">
                <a:avLst/>
              </a:prstGeom>
              <a:blipFill>
                <a:blip r:embed="rId17"/>
                <a:stretch>
                  <a:fillRect/>
                </a:stretch>
              </a:blipFill>
              <a:effectLst/>
            </p:spPr>
            <p:txBody>
              <a:bodyPr/>
              <a:lstStyle/>
              <a:p>
                <a:r>
                  <a:rPr lang="en-US">
                    <a:noFill/>
                  </a:rPr>
                  <a:t> </a:t>
                </a:r>
              </a:p>
            </p:txBody>
          </p:sp>
        </mc:Fallback>
      </mc:AlternateContent>
      <p:sp>
        <p:nvSpPr>
          <p:cNvPr id="29" name="Oval 28">
            <a:extLst>
              <a:ext uri="{FF2B5EF4-FFF2-40B4-BE49-F238E27FC236}">
                <a16:creationId xmlns:a16="http://schemas.microsoft.com/office/drawing/2014/main" id="{DFE65EE5-5D83-A50D-405C-3B4B0E656589}"/>
              </a:ext>
            </a:extLst>
          </p:cNvPr>
          <p:cNvSpPr/>
          <p:nvPr/>
        </p:nvSpPr>
        <p:spPr>
          <a:xfrm>
            <a:off x="8588619" y="4061597"/>
            <a:ext cx="137070" cy="14171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30" name="Oval 29">
            <a:extLst>
              <a:ext uri="{FF2B5EF4-FFF2-40B4-BE49-F238E27FC236}">
                <a16:creationId xmlns:a16="http://schemas.microsoft.com/office/drawing/2014/main" id="{048A715D-19D6-121A-3EB5-76127FAF26DB}"/>
              </a:ext>
            </a:extLst>
          </p:cNvPr>
          <p:cNvSpPr/>
          <p:nvPr/>
        </p:nvSpPr>
        <p:spPr>
          <a:xfrm>
            <a:off x="7811755" y="4069748"/>
            <a:ext cx="137070" cy="14171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Tree>
    <p:extLst>
      <p:ext uri="{BB962C8B-B14F-4D97-AF65-F5344CB8AC3E}">
        <p14:creationId xmlns:p14="http://schemas.microsoft.com/office/powerpoint/2010/main" val="112722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Shape, square&#10;&#10;Description automatically generated with medium confidence">
            <a:extLst>
              <a:ext uri="{FF2B5EF4-FFF2-40B4-BE49-F238E27FC236}">
                <a16:creationId xmlns:a16="http://schemas.microsoft.com/office/drawing/2014/main" id="{F9B5662E-B399-4385-80C1-C6C5921B7C73}"/>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39978" b="39978"/>
          <a:stretch>
            <a:fillRect/>
          </a:stretch>
        </p:blipFill>
        <p:spPr>
          <a:xfrm>
            <a:off x="0" y="-51372"/>
            <a:ext cx="12192000" cy="6909371"/>
          </a:xfrm>
        </p:spPr>
      </p:pic>
      <p:sp>
        <p:nvSpPr>
          <p:cNvPr id="18" name="Rectangle 11">
            <a:extLst>
              <a:ext uri="{FF2B5EF4-FFF2-40B4-BE49-F238E27FC236}">
                <a16:creationId xmlns:a16="http://schemas.microsoft.com/office/drawing/2014/main" id="{93148A00-BC0A-4D80-87A4-8AFCDF9FF389}"/>
              </a:ext>
            </a:extLst>
          </p:cNvPr>
          <p:cNvSpPr/>
          <p:nvPr/>
        </p:nvSpPr>
        <p:spPr>
          <a:xfrm>
            <a:off x="10686" y="2342508"/>
            <a:ext cx="12192000" cy="1941816"/>
          </a:xfrm>
          <a:prstGeom prst="rect">
            <a:avLst/>
          </a:prstGeom>
          <a:solidFill>
            <a:schemeClr val="accent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aphicFrame>
        <p:nvGraphicFramePr>
          <p:cNvPr id="6" name="Objekt 5" hidden="1">
            <a:extLst>
              <a:ext uri="{FF2B5EF4-FFF2-40B4-BE49-F238E27FC236}">
                <a16:creationId xmlns:a16="http://schemas.microsoft.com/office/drawing/2014/main" id="{ECD6A80E-5864-463A-8A1A-F9B5153B571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6" name="Objekt 5" hidden="1">
                        <a:extLst>
                          <a:ext uri="{FF2B5EF4-FFF2-40B4-BE49-F238E27FC236}">
                            <a16:creationId xmlns:a16="http://schemas.microsoft.com/office/drawing/2014/main" id="{ECD6A80E-5864-463A-8A1A-F9B5153B571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4FB4507-4B98-4C6F-B289-B777D1A574C6}"/>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3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7" name="Group 16">
            <a:extLst>
              <a:ext uri="{FF2B5EF4-FFF2-40B4-BE49-F238E27FC236}">
                <a16:creationId xmlns:a16="http://schemas.microsoft.com/office/drawing/2014/main" id="{93740A2E-CCC3-4D7F-B26B-78F7112C22B3}"/>
              </a:ext>
            </a:extLst>
          </p:cNvPr>
          <p:cNvGrpSpPr/>
          <p:nvPr/>
        </p:nvGrpSpPr>
        <p:grpSpPr>
          <a:xfrm>
            <a:off x="-489680" y="0"/>
            <a:ext cx="269824" cy="1528997"/>
            <a:chOff x="-764499" y="757003"/>
            <a:chExt cx="202368" cy="1146748"/>
          </a:xfrm>
        </p:grpSpPr>
        <p:sp>
          <p:nvSpPr>
            <p:cNvPr id="12" name="Rectangle 11">
              <a:extLst>
                <a:ext uri="{FF2B5EF4-FFF2-40B4-BE49-F238E27FC236}">
                  <a16:creationId xmlns:a16="http://schemas.microsoft.com/office/drawing/2014/main" id="{ED28759A-3C81-434B-AA44-24C99FEAC2C5}"/>
                </a:ext>
              </a:extLst>
            </p:cNvPr>
            <p:cNvSpPr/>
            <p:nvPr/>
          </p:nvSpPr>
          <p:spPr>
            <a:xfrm>
              <a:off x="-764499" y="757003"/>
              <a:ext cx="202368" cy="202368"/>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3" name="Rectangle 12">
              <a:extLst>
                <a:ext uri="{FF2B5EF4-FFF2-40B4-BE49-F238E27FC236}">
                  <a16:creationId xmlns:a16="http://schemas.microsoft.com/office/drawing/2014/main" id="{7718DB31-8EC4-4B11-BEE6-287FFEF69396}"/>
                </a:ext>
              </a:extLst>
            </p:cNvPr>
            <p:cNvSpPr/>
            <p:nvPr/>
          </p:nvSpPr>
          <p:spPr>
            <a:xfrm>
              <a:off x="-764499" y="1071796"/>
              <a:ext cx="202368" cy="202368"/>
            </a:xfrm>
            <a:prstGeom prst="rect">
              <a:avLst/>
            </a:prstGeom>
            <a:solidFill>
              <a:srgbClr val="00B4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4" name="Rectangle 13">
              <a:extLst>
                <a:ext uri="{FF2B5EF4-FFF2-40B4-BE49-F238E27FC236}">
                  <a16:creationId xmlns:a16="http://schemas.microsoft.com/office/drawing/2014/main" id="{0FFE6537-C7D0-4726-8973-73C6687B571F}"/>
                </a:ext>
              </a:extLst>
            </p:cNvPr>
            <p:cNvSpPr/>
            <p:nvPr/>
          </p:nvSpPr>
          <p:spPr>
            <a:xfrm>
              <a:off x="-764499" y="1386589"/>
              <a:ext cx="202368" cy="202368"/>
            </a:xfrm>
            <a:prstGeom prst="rect">
              <a:avLst/>
            </a:prstGeom>
            <a:solidFill>
              <a:srgbClr val="26B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5" name="Rectangle 14">
              <a:extLst>
                <a:ext uri="{FF2B5EF4-FFF2-40B4-BE49-F238E27FC236}">
                  <a16:creationId xmlns:a16="http://schemas.microsoft.com/office/drawing/2014/main" id="{9BDB601E-306D-4CD3-9B90-25D00DF79307}"/>
                </a:ext>
              </a:extLst>
            </p:cNvPr>
            <p:cNvSpPr/>
            <p:nvPr/>
          </p:nvSpPr>
          <p:spPr>
            <a:xfrm>
              <a:off x="-764499" y="1701383"/>
              <a:ext cx="202368" cy="202368"/>
            </a:xfrm>
            <a:prstGeom prst="rect">
              <a:avLst/>
            </a:prstGeom>
            <a:solidFill>
              <a:srgbClr val="57AB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pSp>
      <p:sp>
        <p:nvSpPr>
          <p:cNvPr id="5" name="TextBox 4">
            <a:extLst>
              <a:ext uri="{FF2B5EF4-FFF2-40B4-BE49-F238E27FC236}">
                <a16:creationId xmlns:a16="http://schemas.microsoft.com/office/drawing/2014/main" id="{DE58F1BD-C169-438A-8657-7828C8589B7C}"/>
              </a:ext>
            </a:extLst>
          </p:cNvPr>
          <p:cNvSpPr txBox="1"/>
          <p:nvPr/>
        </p:nvSpPr>
        <p:spPr>
          <a:xfrm>
            <a:off x="2737868" y="2938665"/>
            <a:ext cx="6482994" cy="749501"/>
          </a:xfrm>
          <a:prstGeom prst="rect">
            <a:avLst/>
          </a:prstGeom>
          <a:noFill/>
          <a:effectLst/>
        </p:spPr>
        <p:txBody>
          <a:bodyPr wrap="square" lIns="0" tIns="0" rIns="0" bIns="0" rtlCol="0">
            <a:spAutoFit/>
          </a:bodyPr>
          <a:lstStyle/>
          <a:p>
            <a:pPr algn="ctr">
              <a:lnSpc>
                <a:spcPct val="110000"/>
              </a:lnSpc>
            </a:pPr>
            <a:r>
              <a:rPr lang="en-GB" sz="4800" b="1" dirty="0">
                <a:solidFill>
                  <a:schemeClr val="bg1"/>
                </a:solidFill>
              </a:rPr>
              <a:t>Results</a:t>
            </a:r>
          </a:p>
        </p:txBody>
      </p:sp>
    </p:spTree>
    <p:extLst>
      <p:ext uri="{BB962C8B-B14F-4D97-AF65-F5344CB8AC3E}">
        <p14:creationId xmlns:p14="http://schemas.microsoft.com/office/powerpoint/2010/main" val="354457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5EFD9C-E3AC-4956-8864-3C11D0555DFF}"/>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95EFD9C-E3AC-4956-8864-3C11D0555DFF}"/>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9DD929D8-DCCA-427E-9C6E-4111CC3DA4BA}"/>
              </a:ext>
            </a:extLst>
          </p:cNvPr>
          <p:cNvSpPr>
            <a:spLocks noGrp="1"/>
          </p:cNvSpPr>
          <p:nvPr>
            <p:ph type="sldNum" sz="quarter" idx="11"/>
          </p:nvPr>
        </p:nvSpPr>
        <p:spPr/>
        <p:txBody>
          <a:bodyPr/>
          <a:lstStyle/>
          <a:p>
            <a:pPr defTabSz="914354"/>
            <a:fld id="{D94909C6-CC71-4962-A18E-AF0515723D95}" type="slidenum">
              <a:rPr lang="en-GB">
                <a:solidFill>
                  <a:srgbClr val="4D4E53"/>
                </a:solidFill>
                <a:latin typeface="Arial"/>
                <a:ea typeface="Arial Unicode MS"/>
                <a:cs typeface="Arial"/>
              </a:rPr>
              <a:pPr defTabSz="914354"/>
              <a:t>13</a:t>
            </a:fld>
            <a:endParaRPr lang="en-GB">
              <a:solidFill>
                <a:srgbClr val="4D4E53"/>
              </a:solidFill>
              <a:latin typeface="Arial"/>
              <a:ea typeface="Arial Unicode MS"/>
              <a:cs typeface="Arial"/>
            </a:endParaRPr>
          </a:p>
        </p:txBody>
      </p:sp>
      <p:sp>
        <p:nvSpPr>
          <p:cNvPr id="9" name="Title 4">
            <a:extLst>
              <a:ext uri="{FF2B5EF4-FFF2-40B4-BE49-F238E27FC236}">
                <a16:creationId xmlns:a16="http://schemas.microsoft.com/office/drawing/2014/main" id="{2EE1B889-AA8A-0DF8-FDEB-98428F59AD7B}"/>
              </a:ext>
            </a:extLst>
          </p:cNvPr>
          <p:cNvSpPr>
            <a:spLocks noGrp="1"/>
          </p:cNvSpPr>
          <p:nvPr>
            <p:ph type="title"/>
          </p:nvPr>
        </p:nvSpPr>
        <p:spPr>
          <a:xfrm>
            <a:off x="408000" y="480000"/>
            <a:ext cx="9024000" cy="816000"/>
          </a:xfrm>
        </p:spPr>
        <p:txBody>
          <a:bodyPr vert="horz"/>
          <a:lstStyle/>
          <a:p>
            <a:r>
              <a:rPr lang="en-US" dirty="0">
                <a:solidFill>
                  <a:schemeClr val="tx1"/>
                </a:solidFill>
              </a:rPr>
              <a:t>Theoretical Results</a:t>
            </a:r>
            <a:br>
              <a:rPr lang="en-GB" dirty="0">
                <a:solidFill>
                  <a:srgbClr val="0066FF"/>
                </a:solidFill>
              </a:rPr>
            </a:br>
            <a:r>
              <a:rPr lang="en-GB" sz="2133" dirty="0">
                <a:solidFill>
                  <a:schemeClr val="bg1">
                    <a:lumMod val="50000"/>
                  </a:schemeClr>
                </a:solidFill>
              </a:rPr>
              <a:t>Proving desired properties</a:t>
            </a:r>
            <a:endParaRPr lang="en-GB" sz="1867" dirty="0">
              <a:solidFill>
                <a:schemeClr val="bg1">
                  <a:lumMod val="50000"/>
                </a:schemeClr>
              </a:solidFill>
            </a:endParaRPr>
          </a:p>
        </p:txBody>
      </p:sp>
      <p:pic>
        <p:nvPicPr>
          <p:cNvPr id="2" name="Picture 1">
            <a:extLst>
              <a:ext uri="{FF2B5EF4-FFF2-40B4-BE49-F238E27FC236}">
                <a16:creationId xmlns:a16="http://schemas.microsoft.com/office/drawing/2014/main" id="{38FC3002-A7A7-154D-B51A-F0301B5BEFDE}"/>
              </a:ext>
            </a:extLst>
          </p:cNvPr>
          <p:cNvPicPr>
            <a:picLocks noChangeAspect="1"/>
          </p:cNvPicPr>
          <p:nvPr/>
        </p:nvPicPr>
        <p:blipFill>
          <a:blip r:embed="rId6"/>
          <a:stretch>
            <a:fillRect/>
          </a:stretch>
        </p:blipFill>
        <p:spPr>
          <a:xfrm>
            <a:off x="5454418" y="3797237"/>
            <a:ext cx="5849581" cy="1698656"/>
          </a:xfrm>
          <a:prstGeom prst="rect">
            <a:avLst/>
          </a:prstGeom>
        </p:spPr>
      </p:pic>
      <p:pic>
        <p:nvPicPr>
          <p:cNvPr id="4" name="Picture 3">
            <a:extLst>
              <a:ext uri="{FF2B5EF4-FFF2-40B4-BE49-F238E27FC236}">
                <a16:creationId xmlns:a16="http://schemas.microsoft.com/office/drawing/2014/main" id="{2634F37C-E4EC-E811-2144-06E38438AF66}"/>
              </a:ext>
            </a:extLst>
          </p:cNvPr>
          <p:cNvPicPr>
            <a:picLocks noChangeAspect="1"/>
          </p:cNvPicPr>
          <p:nvPr/>
        </p:nvPicPr>
        <p:blipFill>
          <a:blip r:embed="rId7"/>
          <a:stretch>
            <a:fillRect/>
          </a:stretch>
        </p:blipFill>
        <p:spPr>
          <a:xfrm>
            <a:off x="5454417" y="5439743"/>
            <a:ext cx="5849581" cy="835654"/>
          </a:xfrm>
          <a:prstGeom prst="rect">
            <a:avLst/>
          </a:prstGeom>
        </p:spPr>
      </p:pic>
      <p:grpSp>
        <p:nvGrpSpPr>
          <p:cNvPr id="15" name="Group 14">
            <a:extLst>
              <a:ext uri="{FF2B5EF4-FFF2-40B4-BE49-F238E27FC236}">
                <a16:creationId xmlns:a16="http://schemas.microsoft.com/office/drawing/2014/main" id="{7CA1C1AE-DE1E-3280-417E-4F781764894A}"/>
              </a:ext>
            </a:extLst>
          </p:cNvPr>
          <p:cNvGrpSpPr/>
          <p:nvPr/>
        </p:nvGrpSpPr>
        <p:grpSpPr>
          <a:xfrm>
            <a:off x="408000" y="1613782"/>
            <a:ext cx="4215406" cy="4078167"/>
            <a:chOff x="6925781" y="1609158"/>
            <a:chExt cx="4215406" cy="4078167"/>
          </a:xfrm>
        </p:grpSpPr>
        <p:pic>
          <p:nvPicPr>
            <p:cNvPr id="6" name="Picture 5">
              <a:extLst>
                <a:ext uri="{FF2B5EF4-FFF2-40B4-BE49-F238E27FC236}">
                  <a16:creationId xmlns:a16="http://schemas.microsoft.com/office/drawing/2014/main" id="{F63894DF-A4E6-BD29-8B2C-A46CC2700B38}"/>
                </a:ext>
              </a:extLst>
            </p:cNvPr>
            <p:cNvPicPr>
              <a:picLocks noChangeAspect="1"/>
            </p:cNvPicPr>
            <p:nvPr/>
          </p:nvPicPr>
          <p:blipFill>
            <a:blip r:embed="rId8"/>
            <a:stretch>
              <a:fillRect/>
            </a:stretch>
          </p:blipFill>
          <p:spPr>
            <a:xfrm>
              <a:off x="7182237" y="2824057"/>
              <a:ext cx="3925489" cy="2258578"/>
            </a:xfrm>
            <a:prstGeom prst="rect">
              <a:avLst/>
            </a:prstGeom>
          </p:spPr>
        </p:pic>
        <p:pic>
          <p:nvPicPr>
            <p:cNvPr id="10" name="Picture 9">
              <a:extLst>
                <a:ext uri="{FF2B5EF4-FFF2-40B4-BE49-F238E27FC236}">
                  <a16:creationId xmlns:a16="http://schemas.microsoft.com/office/drawing/2014/main" id="{A86DE988-234F-935F-A7BB-5D5A9B8D18BF}"/>
                </a:ext>
              </a:extLst>
            </p:cNvPr>
            <p:cNvPicPr>
              <a:picLocks noChangeAspect="1"/>
            </p:cNvPicPr>
            <p:nvPr/>
          </p:nvPicPr>
          <p:blipFill>
            <a:blip r:embed="rId9"/>
            <a:stretch>
              <a:fillRect/>
            </a:stretch>
          </p:blipFill>
          <p:spPr>
            <a:xfrm>
              <a:off x="7148776" y="2031609"/>
              <a:ext cx="3992411" cy="853754"/>
            </a:xfrm>
            <a:prstGeom prst="rect">
              <a:avLst/>
            </a:prstGeom>
          </p:spPr>
        </p:pic>
        <p:sp>
          <p:nvSpPr>
            <p:cNvPr id="11" name="TextBox 10">
              <a:extLst>
                <a:ext uri="{FF2B5EF4-FFF2-40B4-BE49-F238E27FC236}">
                  <a16:creationId xmlns:a16="http://schemas.microsoft.com/office/drawing/2014/main" id="{E204ED25-E689-6F91-72D8-8FCB0D0E9F8E}"/>
                </a:ext>
              </a:extLst>
            </p:cNvPr>
            <p:cNvSpPr txBox="1"/>
            <p:nvPr/>
          </p:nvSpPr>
          <p:spPr>
            <a:xfrm>
              <a:off x="6925781" y="1609158"/>
              <a:ext cx="2504775" cy="291555"/>
            </a:xfrm>
            <a:prstGeom prst="rect">
              <a:avLst/>
            </a:prstGeom>
            <a:noFill/>
            <a:effectLst/>
          </p:spPr>
          <p:txBody>
            <a:bodyPr wrap="square" lIns="0" tIns="0" rIns="0" bIns="0" rtlCol="0">
              <a:spAutoFit/>
            </a:bodyPr>
            <a:lstStyle/>
            <a:p>
              <a:pPr defTabSz="914377">
                <a:lnSpc>
                  <a:spcPct val="110000"/>
                </a:lnSpc>
              </a:pPr>
              <a:r>
                <a:rPr lang="en-GB" sz="1867" dirty="0">
                  <a:solidFill>
                    <a:srgbClr val="3350B8"/>
                  </a:solidFill>
                  <a:latin typeface="Arial"/>
                  <a:ea typeface="Arial Unicode MS"/>
                  <a:cs typeface="Arial"/>
                </a:rPr>
                <a:t>Previous Work</a:t>
              </a:r>
            </a:p>
          </p:txBody>
        </p:sp>
        <p:pic>
          <p:nvPicPr>
            <p:cNvPr id="13" name="Picture 12">
              <a:extLst>
                <a:ext uri="{FF2B5EF4-FFF2-40B4-BE49-F238E27FC236}">
                  <a16:creationId xmlns:a16="http://schemas.microsoft.com/office/drawing/2014/main" id="{EF9AB273-141B-8BD9-8FE2-6A828BBE762B}"/>
                </a:ext>
              </a:extLst>
            </p:cNvPr>
            <p:cNvPicPr>
              <a:picLocks noChangeAspect="1"/>
            </p:cNvPicPr>
            <p:nvPr/>
          </p:nvPicPr>
          <p:blipFill>
            <a:blip r:embed="rId10"/>
            <a:stretch>
              <a:fillRect/>
            </a:stretch>
          </p:blipFill>
          <p:spPr>
            <a:xfrm>
              <a:off x="7503341" y="5195564"/>
              <a:ext cx="3637846" cy="491761"/>
            </a:xfrm>
            <a:prstGeom prst="rect">
              <a:avLst/>
            </a:prstGeom>
          </p:spPr>
        </p:pic>
        <p:sp>
          <p:nvSpPr>
            <p:cNvPr id="14" name="TextBox 13">
              <a:extLst>
                <a:ext uri="{FF2B5EF4-FFF2-40B4-BE49-F238E27FC236}">
                  <a16:creationId xmlns:a16="http://schemas.microsoft.com/office/drawing/2014/main" id="{C6875E11-3359-B783-029E-9D3CA1A89FEB}"/>
                </a:ext>
              </a:extLst>
            </p:cNvPr>
            <p:cNvSpPr txBox="1"/>
            <p:nvPr/>
          </p:nvSpPr>
          <p:spPr>
            <a:xfrm>
              <a:off x="7343733" y="5195564"/>
              <a:ext cx="319216" cy="218586"/>
            </a:xfrm>
            <a:prstGeom prst="rect">
              <a:avLst/>
            </a:prstGeom>
            <a:noFill/>
            <a:effectLst/>
          </p:spPr>
          <p:txBody>
            <a:bodyPr wrap="square" lIns="0" tIns="0" rIns="0" bIns="0" rtlCol="0">
              <a:spAutoFit/>
            </a:bodyPr>
            <a:lstStyle/>
            <a:p>
              <a:pPr>
                <a:lnSpc>
                  <a:spcPct val="110000"/>
                </a:lnSpc>
              </a:pPr>
              <a:r>
                <a:rPr lang="en-GB" sz="1400" dirty="0">
                  <a:solidFill>
                    <a:schemeClr val="tx2"/>
                  </a:solidFill>
                </a:rPr>
                <a:t>*</a:t>
              </a:r>
            </a:p>
          </p:txBody>
        </p:sp>
      </p:grpSp>
      <p:sp>
        <p:nvSpPr>
          <p:cNvPr id="16" name="TextBox 15">
            <a:extLst>
              <a:ext uri="{FF2B5EF4-FFF2-40B4-BE49-F238E27FC236}">
                <a16:creationId xmlns:a16="http://schemas.microsoft.com/office/drawing/2014/main" id="{70B872BB-E559-7DC1-7E09-43B5D157AFF4}"/>
              </a:ext>
            </a:extLst>
          </p:cNvPr>
          <p:cNvSpPr txBox="1"/>
          <p:nvPr/>
        </p:nvSpPr>
        <p:spPr>
          <a:xfrm>
            <a:off x="5454417" y="2036233"/>
            <a:ext cx="5849581" cy="1528624"/>
          </a:xfrm>
          <a:prstGeom prst="rect">
            <a:avLst/>
          </a:prstGeom>
          <a:noFill/>
          <a:effectLst/>
        </p:spPr>
        <p:txBody>
          <a:bodyPr wrap="square">
            <a:spAutoFit/>
          </a:bodyPr>
          <a:lstStyle/>
          <a:p>
            <a:pPr marL="304792" indent="-304792" defTabSz="359991">
              <a:spcAft>
                <a:spcPts val="800"/>
              </a:spcAft>
              <a:buClr>
                <a:srgbClr val="3350B8"/>
              </a:buClr>
              <a:buFont typeface="Arial" panose="020B0604020202020204" pitchFamily="34" charset="0"/>
              <a:buChar char="•"/>
              <a:defRPr/>
            </a:pPr>
            <a:r>
              <a:rPr lang="en-US" sz="1600" kern="0" dirty="0">
                <a:solidFill>
                  <a:srgbClr val="0F1E32"/>
                </a:solidFill>
                <a:latin typeface="Arial"/>
                <a:ea typeface="Arial Unicode MS"/>
                <a:cs typeface="Arial"/>
              </a:rPr>
              <a:t>Introduce a hold-out test to capture randomness and propose a lower variance solution</a:t>
            </a:r>
          </a:p>
          <a:p>
            <a:pPr marL="304792" indent="-304792" defTabSz="359991">
              <a:spcAft>
                <a:spcPts val="800"/>
              </a:spcAft>
              <a:buClr>
                <a:srgbClr val="3350B8"/>
              </a:buClr>
              <a:buFont typeface="Arial" panose="020B0604020202020204" pitchFamily="34" charset="0"/>
              <a:buChar char="•"/>
              <a:defRPr/>
            </a:pPr>
            <a:r>
              <a:rPr lang="en-GB" sz="1600" kern="0" dirty="0">
                <a:solidFill>
                  <a:srgbClr val="0F1E32"/>
                </a:solidFill>
                <a:latin typeface="Arial"/>
                <a:ea typeface="Arial Unicode MS"/>
                <a:cs typeface="Arial"/>
              </a:rPr>
              <a:t>Theoretically prove that the risk assessment method provides a conservative and accurate solution</a:t>
            </a:r>
          </a:p>
          <a:p>
            <a:pPr marL="304792" indent="-304792" defTabSz="359991">
              <a:spcAft>
                <a:spcPts val="800"/>
              </a:spcAft>
              <a:buClr>
                <a:srgbClr val="3350B8"/>
              </a:buClr>
              <a:buFont typeface="Arial" panose="020B0604020202020204" pitchFamily="34" charset="0"/>
              <a:buChar char="•"/>
              <a:defRPr/>
            </a:pPr>
            <a:r>
              <a:rPr lang="en-GB" sz="1600" kern="0">
                <a:solidFill>
                  <a:srgbClr val="0F1E32"/>
                </a:solidFill>
                <a:latin typeface="Arial"/>
                <a:ea typeface="Arial Unicode MS"/>
                <a:cs typeface="Arial"/>
              </a:rPr>
              <a:t>Application of the methodology to real-life datasets</a:t>
            </a:r>
          </a:p>
        </p:txBody>
      </p:sp>
      <p:sp>
        <p:nvSpPr>
          <p:cNvPr id="17" name="TextBox 16">
            <a:extLst>
              <a:ext uri="{FF2B5EF4-FFF2-40B4-BE49-F238E27FC236}">
                <a16:creationId xmlns:a16="http://schemas.microsoft.com/office/drawing/2014/main" id="{1CA2D2AB-6B57-B8A3-F6A4-03EC770E58F4}"/>
              </a:ext>
            </a:extLst>
          </p:cNvPr>
          <p:cNvSpPr txBox="1"/>
          <p:nvPr/>
        </p:nvSpPr>
        <p:spPr>
          <a:xfrm>
            <a:off x="5454417" y="1629362"/>
            <a:ext cx="2504775" cy="291555"/>
          </a:xfrm>
          <a:prstGeom prst="rect">
            <a:avLst/>
          </a:prstGeom>
          <a:noFill/>
          <a:effectLst/>
        </p:spPr>
        <p:txBody>
          <a:bodyPr wrap="square" lIns="0" tIns="0" rIns="0" bIns="0" rtlCol="0">
            <a:spAutoFit/>
          </a:bodyPr>
          <a:lstStyle/>
          <a:p>
            <a:pPr defTabSz="914377">
              <a:lnSpc>
                <a:spcPct val="110000"/>
              </a:lnSpc>
            </a:pPr>
            <a:r>
              <a:rPr lang="en-GB" sz="1867" dirty="0">
                <a:solidFill>
                  <a:srgbClr val="3350B8"/>
                </a:solidFill>
                <a:latin typeface="Arial"/>
                <a:ea typeface="Arial Unicode MS"/>
                <a:cs typeface="Arial"/>
              </a:rPr>
              <a:t>Extension</a:t>
            </a:r>
          </a:p>
        </p:txBody>
      </p:sp>
    </p:spTree>
    <p:extLst>
      <p:ext uri="{BB962C8B-B14F-4D97-AF65-F5344CB8AC3E}">
        <p14:creationId xmlns:p14="http://schemas.microsoft.com/office/powerpoint/2010/main" val="369058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4</a:t>
            </a:fld>
            <a:endParaRPr lang="de-DE" b="0" noProof="0"/>
          </a:p>
        </p:txBody>
      </p:sp>
      <p:sp>
        <p:nvSpPr>
          <p:cNvPr id="2" name="TextBox 1">
            <a:extLst>
              <a:ext uri="{FF2B5EF4-FFF2-40B4-BE49-F238E27FC236}">
                <a16:creationId xmlns:a16="http://schemas.microsoft.com/office/drawing/2014/main" id="{3CA026AC-1545-7258-07EB-5DF930CAB563}"/>
              </a:ext>
            </a:extLst>
          </p:cNvPr>
          <p:cNvSpPr txBox="1"/>
          <p:nvPr/>
        </p:nvSpPr>
        <p:spPr>
          <a:xfrm>
            <a:off x="408000" y="2677099"/>
            <a:ext cx="5232636" cy="2413994"/>
          </a:xfrm>
          <a:prstGeom prst="rect">
            <a:avLst/>
          </a:prstGeom>
          <a:noFill/>
          <a:effectLst/>
        </p:spPr>
        <p:txBody>
          <a:bodyPr wrap="square" lIns="0" tIns="0" rIns="0" bIns="0" rtlCol="0">
            <a:spAutoFit/>
          </a:bodyPr>
          <a:lstStyle/>
          <a:p>
            <a:pPr marL="285750" indent="-285750">
              <a:lnSpc>
                <a:spcPct val="110000"/>
              </a:lnSpc>
              <a:buFont typeface="Arial" panose="020B0604020202020204" pitchFamily="34" charset="0"/>
              <a:buChar char="•"/>
            </a:pPr>
            <a:r>
              <a:rPr lang="en-US">
                <a:solidFill>
                  <a:schemeClr val="tx2"/>
                </a:solidFill>
              </a:rPr>
              <a:t>Public dataset with neural network models</a:t>
            </a:r>
          </a:p>
          <a:p>
            <a:pPr marL="285750" indent="-285750">
              <a:lnSpc>
                <a:spcPct val="110000"/>
              </a:lnSpc>
              <a:buFont typeface="Arial" panose="020B0604020202020204" pitchFamily="34" charset="0"/>
              <a:buChar char="•"/>
            </a:pPr>
            <a:r>
              <a:rPr lang="en-US" b="1">
                <a:solidFill>
                  <a:schemeClr val="tx2"/>
                </a:solidFill>
              </a:rPr>
              <a:t>Method-1 </a:t>
            </a:r>
            <a:r>
              <a:rPr lang="en-US">
                <a:solidFill>
                  <a:schemeClr val="tx2"/>
                </a:solidFill>
              </a:rPr>
              <a:t>Mean-variance estimation</a:t>
            </a:r>
          </a:p>
          <a:p>
            <a:pPr marL="285750" indent="-285750">
              <a:lnSpc>
                <a:spcPct val="110000"/>
              </a:lnSpc>
              <a:buFont typeface="Arial" panose="020B0604020202020204" pitchFamily="34" charset="0"/>
              <a:buChar char="•"/>
            </a:pPr>
            <a:r>
              <a:rPr lang="en-US" b="1">
                <a:solidFill>
                  <a:schemeClr val="tx2"/>
                </a:solidFill>
              </a:rPr>
              <a:t>Method-2 </a:t>
            </a:r>
            <a:r>
              <a:rPr lang="en-US">
                <a:solidFill>
                  <a:schemeClr val="tx2"/>
                </a:solidFill>
              </a:rPr>
              <a:t>normal distribution over residuals</a:t>
            </a:r>
          </a:p>
          <a:p>
            <a:pPr marL="285750" indent="-285750">
              <a:lnSpc>
                <a:spcPct val="110000"/>
              </a:lnSpc>
              <a:buFont typeface="Arial" panose="020B0604020202020204" pitchFamily="34" charset="0"/>
              <a:buChar char="•"/>
            </a:pPr>
            <a:r>
              <a:rPr lang="en-US">
                <a:solidFill>
                  <a:schemeClr val="tx2"/>
                </a:solidFill>
              </a:rPr>
              <a:t>Exponential tilting for distribution shift [</a:t>
            </a:r>
            <a:r>
              <a:rPr lang="en-US" err="1">
                <a:solidFill>
                  <a:schemeClr val="tx2"/>
                </a:solidFill>
              </a:rPr>
              <a:t>Tibshirani</a:t>
            </a:r>
            <a:r>
              <a:rPr lang="en-US">
                <a:solidFill>
                  <a:schemeClr val="tx2"/>
                </a:solidFill>
              </a:rPr>
              <a:t> et.al. 2019]</a:t>
            </a:r>
          </a:p>
          <a:p>
            <a:pPr marL="285750" indent="-285750">
              <a:lnSpc>
                <a:spcPct val="110000"/>
              </a:lnSpc>
              <a:buFont typeface="Arial" panose="020B0604020202020204" pitchFamily="34" charset="0"/>
              <a:buChar char="•"/>
            </a:pPr>
            <a:r>
              <a:rPr lang="en-US">
                <a:solidFill>
                  <a:schemeClr val="tx2"/>
                </a:solidFill>
              </a:rPr>
              <a:t>Counting based estimate empirical estimate of the true failure probability</a:t>
            </a:r>
          </a:p>
          <a:p>
            <a:pPr marL="269875" indent="-269875">
              <a:lnSpc>
                <a:spcPct val="110000"/>
              </a:lnSpc>
              <a:buFont typeface="Wingdings" panose="05000000000000000000" pitchFamily="2" charset="2"/>
              <a:buChar char="§"/>
            </a:pPr>
            <a:endParaRPr lang="de-DE">
              <a:solidFill>
                <a:schemeClr val="tx2"/>
              </a:solidFill>
            </a:endParaRPr>
          </a:p>
        </p:txBody>
      </p:sp>
      <p:pic>
        <p:nvPicPr>
          <p:cNvPr id="7" name="Picture 6">
            <a:extLst>
              <a:ext uri="{FF2B5EF4-FFF2-40B4-BE49-F238E27FC236}">
                <a16:creationId xmlns:a16="http://schemas.microsoft.com/office/drawing/2014/main" id="{4CB97C8E-349E-60DA-0AB7-3306A670301C}"/>
              </a:ext>
            </a:extLst>
          </p:cNvPr>
          <p:cNvPicPr>
            <a:picLocks noChangeAspect="1"/>
          </p:cNvPicPr>
          <p:nvPr/>
        </p:nvPicPr>
        <p:blipFill rotWithShape="1">
          <a:blip r:embed="rId3"/>
          <a:srcRect l="532" t="2693" r="-1"/>
          <a:stretch/>
        </p:blipFill>
        <p:spPr>
          <a:xfrm>
            <a:off x="6207091" y="1583954"/>
            <a:ext cx="5576909" cy="4021157"/>
          </a:xfrm>
          <a:prstGeom prst="rect">
            <a:avLst/>
          </a:prstGeom>
        </p:spPr>
      </p:pic>
      <p:sp>
        <p:nvSpPr>
          <p:cNvPr id="8" name="TextBox 7">
            <a:extLst>
              <a:ext uri="{FF2B5EF4-FFF2-40B4-BE49-F238E27FC236}">
                <a16:creationId xmlns:a16="http://schemas.microsoft.com/office/drawing/2014/main" id="{788DBA0B-E541-7343-D6E6-42B7062CBA79}"/>
              </a:ext>
            </a:extLst>
          </p:cNvPr>
          <p:cNvSpPr txBox="1"/>
          <p:nvPr/>
        </p:nvSpPr>
        <p:spPr>
          <a:xfrm>
            <a:off x="3822857" y="6062199"/>
            <a:ext cx="272510" cy="281103"/>
          </a:xfrm>
          <a:prstGeom prst="rect">
            <a:avLst/>
          </a:prstGeom>
          <a:noFill/>
          <a:effectLst/>
        </p:spPr>
        <p:txBody>
          <a:bodyPr wrap="none" lIns="0" tIns="0" rIns="0" bIns="0" rtlCol="0">
            <a:spAutoFit/>
          </a:bodyPr>
          <a:lstStyle/>
          <a:p>
            <a:pPr marL="269875" indent="-269875">
              <a:lnSpc>
                <a:spcPct val="110000"/>
              </a:lnSpc>
              <a:buFont typeface="Wingdings" panose="05000000000000000000" pitchFamily="2" charset="2"/>
              <a:buChar char="§"/>
            </a:pPr>
            <a:endParaRPr lang="de-DE" err="1">
              <a:solidFill>
                <a:schemeClr val="tx2"/>
              </a:solidFill>
            </a:endParaRPr>
          </a:p>
        </p:txBody>
      </p:sp>
      <p:sp>
        <p:nvSpPr>
          <p:cNvPr id="6" name="Title 4">
            <a:extLst>
              <a:ext uri="{FF2B5EF4-FFF2-40B4-BE49-F238E27FC236}">
                <a16:creationId xmlns:a16="http://schemas.microsoft.com/office/drawing/2014/main" id="{8444E7D1-FBBD-DA21-6F91-571B4473151A}"/>
              </a:ext>
            </a:extLst>
          </p:cNvPr>
          <p:cNvSpPr>
            <a:spLocks noGrp="1"/>
          </p:cNvSpPr>
          <p:nvPr>
            <p:ph type="title"/>
          </p:nvPr>
        </p:nvSpPr>
        <p:spPr>
          <a:xfrm>
            <a:off x="408000" y="480000"/>
            <a:ext cx="9024000" cy="816000"/>
          </a:xfrm>
        </p:spPr>
        <p:txBody>
          <a:bodyPr vert="horz"/>
          <a:lstStyle/>
          <a:p>
            <a:r>
              <a:rPr lang="en-US" sz="2670">
                <a:solidFill>
                  <a:schemeClr val="tx1"/>
                </a:solidFill>
              </a:rPr>
              <a:t>Experimental Results</a:t>
            </a:r>
            <a:br>
              <a:rPr lang="en-GB">
                <a:solidFill>
                  <a:srgbClr val="0066FF"/>
                </a:solidFill>
              </a:rPr>
            </a:br>
            <a:r>
              <a:rPr lang="en-GB" sz="2133">
                <a:solidFill>
                  <a:schemeClr val="bg1">
                    <a:lumMod val="50000"/>
                  </a:schemeClr>
                </a:solidFill>
              </a:rPr>
              <a:t>Methodology</a:t>
            </a:r>
            <a:endParaRPr lang="en-GB" sz="1867">
              <a:solidFill>
                <a:schemeClr val="bg1">
                  <a:lumMod val="50000"/>
                </a:schemeClr>
              </a:solidFill>
            </a:endParaRPr>
          </a:p>
        </p:txBody>
      </p:sp>
    </p:spTree>
    <p:extLst>
      <p:ext uri="{BB962C8B-B14F-4D97-AF65-F5344CB8AC3E}">
        <p14:creationId xmlns:p14="http://schemas.microsoft.com/office/powerpoint/2010/main" val="280592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5</a:t>
            </a:fld>
            <a:endParaRPr lang="de-DE" b="0" noProof="0"/>
          </a:p>
        </p:txBody>
      </p:sp>
      <p:graphicFrame>
        <p:nvGraphicFramePr>
          <p:cNvPr id="5" name="Chart 4">
            <a:extLst>
              <a:ext uri="{FF2B5EF4-FFF2-40B4-BE49-F238E27FC236}">
                <a16:creationId xmlns:a16="http://schemas.microsoft.com/office/drawing/2014/main" id="{10A8CB92-928A-2DB5-FE0D-5147B6DCB53C}"/>
              </a:ext>
            </a:extLst>
          </p:cNvPr>
          <p:cNvGraphicFramePr/>
          <p:nvPr>
            <p:extLst>
              <p:ext uri="{D42A27DB-BD31-4B8C-83A1-F6EECF244321}">
                <p14:modId xmlns:p14="http://schemas.microsoft.com/office/powerpoint/2010/main" val="3681565828"/>
              </p:ext>
            </p:extLst>
          </p:nvPr>
        </p:nvGraphicFramePr>
        <p:xfrm>
          <a:off x="408000" y="1311748"/>
          <a:ext cx="5045349" cy="55462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E2BB697-C168-BA18-F915-4945F78A3C9B}"/>
              </a:ext>
            </a:extLst>
          </p:cNvPr>
          <p:cNvGraphicFramePr/>
          <p:nvPr>
            <p:extLst>
              <p:ext uri="{D42A27DB-BD31-4B8C-83A1-F6EECF244321}">
                <p14:modId xmlns:p14="http://schemas.microsoft.com/office/powerpoint/2010/main" val="158542017"/>
              </p:ext>
            </p:extLst>
          </p:nvPr>
        </p:nvGraphicFramePr>
        <p:xfrm>
          <a:off x="6179003" y="1276862"/>
          <a:ext cx="5045349" cy="5546252"/>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Connector 8">
            <a:extLst>
              <a:ext uri="{FF2B5EF4-FFF2-40B4-BE49-F238E27FC236}">
                <a16:creationId xmlns:a16="http://schemas.microsoft.com/office/drawing/2014/main" id="{33CBADE2-7C18-F931-DC4E-3FCBF1C14A25}"/>
              </a:ext>
            </a:extLst>
          </p:cNvPr>
          <p:cNvCxnSpPr/>
          <p:nvPr/>
        </p:nvCxnSpPr>
        <p:spPr>
          <a:xfrm>
            <a:off x="9309253" y="3647324"/>
            <a:ext cx="2104222" cy="0"/>
          </a:xfrm>
          <a:prstGeom prst="line">
            <a:avLst/>
          </a:prstGeom>
        </p:spPr>
        <p:style>
          <a:lnRef idx="3">
            <a:schemeClr val="dk1"/>
          </a:lnRef>
          <a:fillRef idx="0">
            <a:schemeClr val="dk1"/>
          </a:fillRef>
          <a:effectRef idx="2">
            <a:schemeClr val="dk1"/>
          </a:effectRef>
          <a:fontRef idx="minor">
            <a:schemeClr val="tx1"/>
          </a:fontRef>
        </p:style>
      </p:cxnSp>
      <p:cxnSp>
        <p:nvCxnSpPr>
          <p:cNvPr id="12" name="Straight Arrow Connector 11">
            <a:extLst>
              <a:ext uri="{FF2B5EF4-FFF2-40B4-BE49-F238E27FC236}">
                <a16:creationId xmlns:a16="http://schemas.microsoft.com/office/drawing/2014/main" id="{7BA4AC4F-9868-1032-A630-CF765A4E75C1}"/>
              </a:ext>
            </a:extLst>
          </p:cNvPr>
          <p:cNvCxnSpPr>
            <a:cxnSpLocks/>
          </p:cNvCxnSpPr>
          <p:nvPr/>
        </p:nvCxnSpPr>
        <p:spPr>
          <a:xfrm flipV="1">
            <a:off x="10785513" y="3647324"/>
            <a:ext cx="0" cy="43755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49" name="TextBox 48">
            <a:extLst>
              <a:ext uri="{FF2B5EF4-FFF2-40B4-BE49-F238E27FC236}">
                <a16:creationId xmlns:a16="http://schemas.microsoft.com/office/drawing/2014/main" id="{664697D7-DD5B-AA31-43A9-EC5B3B1220C0}"/>
              </a:ext>
            </a:extLst>
          </p:cNvPr>
          <p:cNvSpPr txBox="1"/>
          <p:nvPr/>
        </p:nvSpPr>
        <p:spPr>
          <a:xfrm>
            <a:off x="9949546" y="4093506"/>
            <a:ext cx="1671933" cy="218586"/>
          </a:xfrm>
          <a:prstGeom prst="rect">
            <a:avLst/>
          </a:prstGeom>
          <a:noFill/>
          <a:effectLst/>
        </p:spPr>
        <p:txBody>
          <a:bodyPr wrap="none" lIns="0" tIns="0" rIns="0" bIns="0" rtlCol="0">
            <a:spAutoFit/>
          </a:bodyPr>
          <a:lstStyle/>
          <a:p>
            <a:pPr>
              <a:lnSpc>
                <a:spcPct val="110000"/>
              </a:lnSpc>
            </a:pPr>
            <a:r>
              <a:rPr lang="en-US" sz="1400" dirty="0">
                <a:solidFill>
                  <a:schemeClr val="tx2"/>
                </a:solidFill>
              </a:rPr>
              <a:t>Risk underestimation</a:t>
            </a:r>
            <a:endParaRPr lang="de-DE" sz="1400" dirty="0">
              <a:solidFill>
                <a:schemeClr val="tx2"/>
              </a:solidFill>
            </a:endParaRPr>
          </a:p>
        </p:txBody>
      </p:sp>
      <p:cxnSp>
        <p:nvCxnSpPr>
          <p:cNvPr id="50" name="Straight Arrow Connector 49">
            <a:extLst>
              <a:ext uri="{FF2B5EF4-FFF2-40B4-BE49-F238E27FC236}">
                <a16:creationId xmlns:a16="http://schemas.microsoft.com/office/drawing/2014/main" id="{7BED199D-C6BA-88D5-3275-12106B847901}"/>
              </a:ext>
            </a:extLst>
          </p:cNvPr>
          <p:cNvCxnSpPr>
            <a:cxnSpLocks/>
          </p:cNvCxnSpPr>
          <p:nvPr/>
        </p:nvCxnSpPr>
        <p:spPr>
          <a:xfrm>
            <a:off x="10785512" y="4312092"/>
            <a:ext cx="0" cy="41258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7" name="Title 4">
            <a:extLst>
              <a:ext uri="{FF2B5EF4-FFF2-40B4-BE49-F238E27FC236}">
                <a16:creationId xmlns:a16="http://schemas.microsoft.com/office/drawing/2014/main" id="{6B4953D6-625B-DCBF-ECE6-378FC99045E6}"/>
              </a:ext>
            </a:extLst>
          </p:cNvPr>
          <p:cNvSpPr>
            <a:spLocks noGrp="1"/>
          </p:cNvSpPr>
          <p:nvPr>
            <p:ph type="title"/>
          </p:nvPr>
        </p:nvSpPr>
        <p:spPr>
          <a:xfrm>
            <a:off x="408000" y="480000"/>
            <a:ext cx="9024000" cy="816000"/>
          </a:xfrm>
        </p:spPr>
        <p:txBody>
          <a:bodyPr vert="horz"/>
          <a:lstStyle/>
          <a:p>
            <a:r>
              <a:rPr lang="en-US" sz="2670">
                <a:solidFill>
                  <a:schemeClr val="tx1"/>
                </a:solidFill>
              </a:rPr>
              <a:t>Experimental Results</a:t>
            </a:r>
            <a:br>
              <a:rPr lang="en-GB">
                <a:solidFill>
                  <a:srgbClr val="0066FF"/>
                </a:solidFill>
              </a:rPr>
            </a:br>
            <a:r>
              <a:rPr lang="en-GB" sz="2133">
                <a:solidFill>
                  <a:schemeClr val="bg1">
                    <a:lumMod val="50000"/>
                  </a:schemeClr>
                </a:solidFill>
              </a:rPr>
              <a:t>Predictive maintenance: Gas turbines (1/2)</a:t>
            </a:r>
            <a:endParaRPr lang="en-GB" sz="1867">
              <a:solidFill>
                <a:schemeClr val="bg1">
                  <a:lumMod val="50000"/>
                </a:schemeClr>
              </a:solidFill>
            </a:endParaRPr>
          </a:p>
        </p:txBody>
      </p:sp>
    </p:spTree>
    <p:extLst>
      <p:ext uri="{BB962C8B-B14F-4D97-AF65-F5344CB8AC3E}">
        <p14:creationId xmlns:p14="http://schemas.microsoft.com/office/powerpoint/2010/main" val="310525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P spid="4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6</a:t>
            </a:fld>
            <a:endParaRPr lang="de-DE" b="0" noProof="0"/>
          </a:p>
        </p:txBody>
      </p:sp>
      <p:graphicFrame>
        <p:nvGraphicFramePr>
          <p:cNvPr id="5" name="Chart 4">
            <a:extLst>
              <a:ext uri="{FF2B5EF4-FFF2-40B4-BE49-F238E27FC236}">
                <a16:creationId xmlns:a16="http://schemas.microsoft.com/office/drawing/2014/main" id="{10A8CB92-928A-2DB5-FE0D-5147B6DCB53C}"/>
              </a:ext>
            </a:extLst>
          </p:cNvPr>
          <p:cNvGraphicFramePr/>
          <p:nvPr>
            <p:extLst>
              <p:ext uri="{D42A27DB-BD31-4B8C-83A1-F6EECF244321}">
                <p14:modId xmlns:p14="http://schemas.microsoft.com/office/powerpoint/2010/main" val="2743751799"/>
              </p:ext>
            </p:extLst>
          </p:nvPr>
        </p:nvGraphicFramePr>
        <p:xfrm>
          <a:off x="408000" y="1330886"/>
          <a:ext cx="5045349" cy="55462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E2BB697-C168-BA18-F915-4945F78A3C9B}"/>
              </a:ext>
            </a:extLst>
          </p:cNvPr>
          <p:cNvGraphicFramePr/>
          <p:nvPr>
            <p:extLst>
              <p:ext uri="{D42A27DB-BD31-4B8C-83A1-F6EECF244321}">
                <p14:modId xmlns:p14="http://schemas.microsoft.com/office/powerpoint/2010/main" val="4240712174"/>
              </p:ext>
            </p:extLst>
          </p:nvPr>
        </p:nvGraphicFramePr>
        <p:xfrm>
          <a:off x="6179003" y="1296000"/>
          <a:ext cx="5045349" cy="5546252"/>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4">
            <a:extLst>
              <a:ext uri="{FF2B5EF4-FFF2-40B4-BE49-F238E27FC236}">
                <a16:creationId xmlns:a16="http://schemas.microsoft.com/office/drawing/2014/main" id="{51802964-CEC9-0CE4-0CD9-2B78B7149167}"/>
              </a:ext>
            </a:extLst>
          </p:cNvPr>
          <p:cNvSpPr>
            <a:spLocks noGrp="1"/>
          </p:cNvSpPr>
          <p:nvPr>
            <p:ph type="title"/>
          </p:nvPr>
        </p:nvSpPr>
        <p:spPr>
          <a:xfrm>
            <a:off x="408000" y="480000"/>
            <a:ext cx="9024000" cy="816000"/>
          </a:xfrm>
        </p:spPr>
        <p:txBody>
          <a:bodyPr vert="horz"/>
          <a:lstStyle/>
          <a:p>
            <a:r>
              <a:rPr lang="en-US" sz="2670">
                <a:solidFill>
                  <a:schemeClr val="tx1"/>
                </a:solidFill>
              </a:rPr>
              <a:t>Experimental Results</a:t>
            </a:r>
            <a:br>
              <a:rPr lang="en-GB">
                <a:solidFill>
                  <a:srgbClr val="0066FF"/>
                </a:solidFill>
              </a:rPr>
            </a:br>
            <a:r>
              <a:rPr lang="en-GB" sz="2133">
                <a:solidFill>
                  <a:schemeClr val="bg1">
                    <a:lumMod val="50000"/>
                  </a:schemeClr>
                </a:solidFill>
              </a:rPr>
              <a:t>Predictive maintenance: Gas turbines (2/2)</a:t>
            </a:r>
            <a:endParaRPr lang="en-GB" sz="1867">
              <a:solidFill>
                <a:schemeClr val="bg1">
                  <a:lumMod val="50000"/>
                </a:schemeClr>
              </a:solidFill>
            </a:endParaRPr>
          </a:p>
        </p:txBody>
      </p:sp>
    </p:spTree>
    <p:extLst>
      <p:ext uri="{BB962C8B-B14F-4D97-AF65-F5344CB8AC3E}">
        <p14:creationId xmlns:p14="http://schemas.microsoft.com/office/powerpoint/2010/main" val="328870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7</a:t>
            </a:fld>
            <a:endParaRPr lang="de-DE" b="0" noProof="0"/>
          </a:p>
        </p:txBody>
      </p:sp>
      <p:graphicFrame>
        <p:nvGraphicFramePr>
          <p:cNvPr id="5" name="Chart 4">
            <a:extLst>
              <a:ext uri="{FF2B5EF4-FFF2-40B4-BE49-F238E27FC236}">
                <a16:creationId xmlns:a16="http://schemas.microsoft.com/office/drawing/2014/main" id="{10A8CB92-928A-2DB5-FE0D-5147B6DCB53C}"/>
              </a:ext>
            </a:extLst>
          </p:cNvPr>
          <p:cNvGraphicFramePr/>
          <p:nvPr>
            <p:extLst>
              <p:ext uri="{D42A27DB-BD31-4B8C-83A1-F6EECF244321}">
                <p14:modId xmlns:p14="http://schemas.microsoft.com/office/powerpoint/2010/main" val="393745021"/>
              </p:ext>
            </p:extLst>
          </p:nvPr>
        </p:nvGraphicFramePr>
        <p:xfrm>
          <a:off x="408000" y="1311748"/>
          <a:ext cx="5045349" cy="55462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5E2BB697-C168-BA18-F915-4945F78A3C9B}"/>
              </a:ext>
            </a:extLst>
          </p:cNvPr>
          <p:cNvGraphicFramePr/>
          <p:nvPr>
            <p:extLst>
              <p:ext uri="{D42A27DB-BD31-4B8C-83A1-F6EECF244321}">
                <p14:modId xmlns:p14="http://schemas.microsoft.com/office/powerpoint/2010/main" val="883588503"/>
              </p:ext>
            </p:extLst>
          </p:nvPr>
        </p:nvGraphicFramePr>
        <p:xfrm>
          <a:off x="6179003" y="1276862"/>
          <a:ext cx="5045349" cy="5546252"/>
        </p:xfrm>
        <a:graphic>
          <a:graphicData uri="http://schemas.openxmlformats.org/drawingml/2006/chart">
            <c:chart xmlns:c="http://schemas.openxmlformats.org/drawingml/2006/chart" xmlns:r="http://schemas.openxmlformats.org/officeDocument/2006/relationships" r:id="rId4"/>
          </a:graphicData>
        </a:graphic>
      </p:graphicFrame>
      <p:sp>
        <p:nvSpPr>
          <p:cNvPr id="11" name="Title 4">
            <a:extLst>
              <a:ext uri="{FF2B5EF4-FFF2-40B4-BE49-F238E27FC236}">
                <a16:creationId xmlns:a16="http://schemas.microsoft.com/office/drawing/2014/main" id="{A19CBFFA-D71B-934A-C1A6-968FEC5CEA64}"/>
              </a:ext>
            </a:extLst>
          </p:cNvPr>
          <p:cNvSpPr>
            <a:spLocks noGrp="1"/>
          </p:cNvSpPr>
          <p:nvPr>
            <p:ph type="title"/>
          </p:nvPr>
        </p:nvSpPr>
        <p:spPr>
          <a:xfrm>
            <a:off x="408000" y="480000"/>
            <a:ext cx="9024000" cy="816000"/>
          </a:xfrm>
        </p:spPr>
        <p:txBody>
          <a:bodyPr vert="horz"/>
          <a:lstStyle/>
          <a:p>
            <a:r>
              <a:rPr lang="en-US" sz="2670">
                <a:solidFill>
                  <a:schemeClr val="tx1"/>
                </a:solidFill>
              </a:rPr>
              <a:t>Experimental Results</a:t>
            </a:r>
            <a:br>
              <a:rPr lang="en-GB">
                <a:solidFill>
                  <a:srgbClr val="0066FF"/>
                </a:solidFill>
              </a:rPr>
            </a:br>
            <a:r>
              <a:rPr lang="en-GB" sz="2133">
                <a:solidFill>
                  <a:schemeClr val="bg1">
                    <a:lumMod val="50000"/>
                  </a:schemeClr>
                </a:solidFill>
              </a:rPr>
              <a:t>Energy Output: Power plant</a:t>
            </a:r>
            <a:endParaRPr lang="en-GB" sz="1867">
              <a:solidFill>
                <a:schemeClr val="bg1">
                  <a:lumMod val="50000"/>
                </a:schemeClr>
              </a:solidFill>
            </a:endParaRPr>
          </a:p>
        </p:txBody>
      </p:sp>
    </p:spTree>
    <p:extLst>
      <p:ext uri="{BB962C8B-B14F-4D97-AF65-F5344CB8AC3E}">
        <p14:creationId xmlns:p14="http://schemas.microsoft.com/office/powerpoint/2010/main" val="1815979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8</a:t>
            </a:fld>
            <a:endParaRPr lang="de-DE" b="0" noProof="0"/>
          </a:p>
        </p:txBody>
      </p:sp>
      <p:pic>
        <p:nvPicPr>
          <p:cNvPr id="3" name="Picture 2">
            <a:extLst>
              <a:ext uri="{FF2B5EF4-FFF2-40B4-BE49-F238E27FC236}">
                <a16:creationId xmlns:a16="http://schemas.microsoft.com/office/drawing/2014/main" id="{8D22E930-99E3-2A66-60E9-F5E9CBD4B13A}"/>
              </a:ext>
            </a:extLst>
          </p:cNvPr>
          <p:cNvPicPr>
            <a:picLocks noChangeAspect="1"/>
          </p:cNvPicPr>
          <p:nvPr/>
        </p:nvPicPr>
        <p:blipFill>
          <a:blip r:embed="rId3"/>
          <a:stretch>
            <a:fillRect/>
          </a:stretch>
        </p:blipFill>
        <p:spPr>
          <a:xfrm>
            <a:off x="484741" y="1690037"/>
            <a:ext cx="5646567" cy="4020800"/>
          </a:xfrm>
          <a:prstGeom prst="rect">
            <a:avLst/>
          </a:prstGeom>
        </p:spPr>
      </p:pic>
      <p:pic>
        <p:nvPicPr>
          <p:cNvPr id="8" name="Picture 7">
            <a:extLst>
              <a:ext uri="{FF2B5EF4-FFF2-40B4-BE49-F238E27FC236}">
                <a16:creationId xmlns:a16="http://schemas.microsoft.com/office/drawing/2014/main" id="{D285DB18-3B47-BE2F-6070-93621E49366F}"/>
              </a:ext>
            </a:extLst>
          </p:cNvPr>
          <p:cNvPicPr>
            <a:picLocks noChangeAspect="1"/>
          </p:cNvPicPr>
          <p:nvPr/>
        </p:nvPicPr>
        <p:blipFill>
          <a:blip r:embed="rId4"/>
          <a:stretch>
            <a:fillRect/>
          </a:stretch>
        </p:blipFill>
        <p:spPr>
          <a:xfrm>
            <a:off x="6373680" y="1690036"/>
            <a:ext cx="5534066" cy="3917549"/>
          </a:xfrm>
          <a:prstGeom prst="rect">
            <a:avLst/>
          </a:prstGeom>
        </p:spPr>
      </p:pic>
      <p:sp>
        <p:nvSpPr>
          <p:cNvPr id="9" name="TextBox 8">
            <a:extLst>
              <a:ext uri="{FF2B5EF4-FFF2-40B4-BE49-F238E27FC236}">
                <a16:creationId xmlns:a16="http://schemas.microsoft.com/office/drawing/2014/main" id="{E3F42A80-F248-ECE5-C843-A6AF21250290}"/>
              </a:ext>
            </a:extLst>
          </p:cNvPr>
          <p:cNvSpPr txBox="1"/>
          <p:nvPr/>
        </p:nvSpPr>
        <p:spPr>
          <a:xfrm>
            <a:off x="2721166" y="5905041"/>
            <a:ext cx="2449388" cy="281103"/>
          </a:xfrm>
          <a:prstGeom prst="rect">
            <a:avLst/>
          </a:prstGeom>
          <a:noFill/>
          <a:effectLst/>
        </p:spPr>
        <p:txBody>
          <a:bodyPr wrap="none" lIns="0" tIns="0" rIns="0" bIns="0" rtlCol="0">
            <a:spAutoFit/>
          </a:bodyPr>
          <a:lstStyle/>
          <a:p>
            <a:pPr>
              <a:lnSpc>
                <a:spcPct val="110000"/>
              </a:lnSpc>
            </a:pPr>
            <a:r>
              <a:rPr lang="en-US">
                <a:solidFill>
                  <a:schemeClr val="tx2"/>
                </a:solidFill>
              </a:rPr>
              <a:t>Without distribution shift</a:t>
            </a:r>
            <a:endParaRPr lang="de-DE" err="1">
              <a:solidFill>
                <a:schemeClr val="tx2"/>
              </a:solidFill>
            </a:endParaRPr>
          </a:p>
        </p:txBody>
      </p:sp>
      <p:sp>
        <p:nvSpPr>
          <p:cNvPr id="11" name="TextBox 10">
            <a:extLst>
              <a:ext uri="{FF2B5EF4-FFF2-40B4-BE49-F238E27FC236}">
                <a16:creationId xmlns:a16="http://schemas.microsoft.com/office/drawing/2014/main" id="{EA386805-C062-5E5E-B7F0-6CD65719A833}"/>
              </a:ext>
            </a:extLst>
          </p:cNvPr>
          <p:cNvSpPr txBox="1"/>
          <p:nvPr/>
        </p:nvSpPr>
        <p:spPr>
          <a:xfrm>
            <a:off x="8159077" y="5874630"/>
            <a:ext cx="2180084" cy="281103"/>
          </a:xfrm>
          <a:prstGeom prst="rect">
            <a:avLst/>
          </a:prstGeom>
          <a:noFill/>
          <a:effectLst/>
        </p:spPr>
        <p:txBody>
          <a:bodyPr wrap="none" lIns="0" tIns="0" rIns="0" bIns="0" rtlCol="0">
            <a:spAutoFit/>
          </a:bodyPr>
          <a:lstStyle/>
          <a:p>
            <a:pPr>
              <a:lnSpc>
                <a:spcPct val="110000"/>
              </a:lnSpc>
            </a:pPr>
            <a:r>
              <a:rPr lang="en-US">
                <a:solidFill>
                  <a:schemeClr val="tx2"/>
                </a:solidFill>
              </a:rPr>
              <a:t>With distribution shift</a:t>
            </a:r>
            <a:endParaRPr lang="de-DE" err="1">
              <a:solidFill>
                <a:schemeClr val="tx2"/>
              </a:solidFill>
            </a:endParaRPr>
          </a:p>
        </p:txBody>
      </p:sp>
      <p:sp>
        <p:nvSpPr>
          <p:cNvPr id="6" name="Title 4">
            <a:extLst>
              <a:ext uri="{FF2B5EF4-FFF2-40B4-BE49-F238E27FC236}">
                <a16:creationId xmlns:a16="http://schemas.microsoft.com/office/drawing/2014/main" id="{93074B39-3D9A-0E19-CCB5-937A01C2A276}"/>
              </a:ext>
            </a:extLst>
          </p:cNvPr>
          <p:cNvSpPr>
            <a:spLocks noGrp="1"/>
          </p:cNvSpPr>
          <p:nvPr>
            <p:ph type="title"/>
          </p:nvPr>
        </p:nvSpPr>
        <p:spPr>
          <a:xfrm>
            <a:off x="408000" y="480000"/>
            <a:ext cx="9024000" cy="816000"/>
          </a:xfrm>
        </p:spPr>
        <p:txBody>
          <a:bodyPr vert="horz"/>
          <a:lstStyle/>
          <a:p>
            <a:r>
              <a:rPr lang="en-US" sz="2670">
                <a:solidFill>
                  <a:schemeClr val="tx1"/>
                </a:solidFill>
              </a:rPr>
              <a:t>Experimental Results</a:t>
            </a:r>
            <a:br>
              <a:rPr lang="en-GB">
                <a:solidFill>
                  <a:srgbClr val="0066FF"/>
                </a:solidFill>
              </a:rPr>
            </a:br>
            <a:r>
              <a:rPr lang="en-GB" sz="2133">
                <a:solidFill>
                  <a:schemeClr val="bg1">
                    <a:lumMod val="50000"/>
                  </a:schemeClr>
                </a:solidFill>
              </a:rPr>
              <a:t>Convergence with number of calibration points</a:t>
            </a:r>
            <a:endParaRPr lang="en-GB" sz="1867">
              <a:solidFill>
                <a:schemeClr val="bg1">
                  <a:lumMod val="50000"/>
                </a:schemeClr>
              </a:solidFill>
            </a:endParaRPr>
          </a:p>
        </p:txBody>
      </p:sp>
    </p:spTree>
    <p:extLst>
      <p:ext uri="{BB962C8B-B14F-4D97-AF65-F5344CB8AC3E}">
        <p14:creationId xmlns:p14="http://schemas.microsoft.com/office/powerpoint/2010/main" val="9189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ECB00E13-7430-0465-04AA-C9DB86AA994F}"/>
              </a:ext>
            </a:extLst>
          </p:cNvPr>
          <p:cNvSpPr>
            <a:spLocks noGrp="1"/>
          </p:cNvSpPr>
          <p:nvPr>
            <p:ph type="sldNum" sz="quarter" idx="11"/>
          </p:nvPr>
        </p:nvSpPr>
        <p:spPr>
          <a:xfrm>
            <a:off x="11304000" y="6528000"/>
            <a:ext cx="480000" cy="240000"/>
          </a:xfrm>
        </p:spPr>
        <p:txBody>
          <a:bodyPr/>
          <a:lstStyle/>
          <a:p>
            <a:fld id="{D94909C6-CC71-4962-A18E-AF0515723D95}" type="slidenum">
              <a:rPr lang="de-DE" b="0" noProof="0" smtClean="0"/>
              <a:pPr/>
              <a:t>19</a:t>
            </a:fld>
            <a:endParaRPr lang="de-DE" b="0" noProof="0"/>
          </a:p>
        </p:txBody>
      </p:sp>
      <p:sp>
        <p:nvSpPr>
          <p:cNvPr id="2" name="TextBox 1">
            <a:extLst>
              <a:ext uri="{FF2B5EF4-FFF2-40B4-BE49-F238E27FC236}">
                <a16:creationId xmlns:a16="http://schemas.microsoft.com/office/drawing/2014/main" id="{3CA026AC-1545-7258-07EB-5DF930CAB563}"/>
              </a:ext>
            </a:extLst>
          </p:cNvPr>
          <p:cNvSpPr txBox="1"/>
          <p:nvPr/>
        </p:nvSpPr>
        <p:spPr>
          <a:xfrm>
            <a:off x="551923" y="2163281"/>
            <a:ext cx="7446323" cy="2783775"/>
          </a:xfrm>
          <a:prstGeom prst="rect">
            <a:avLst/>
          </a:prstGeom>
          <a:noFill/>
          <a:effectLst/>
        </p:spPr>
        <p:txBody>
          <a:bodyPr wrap="square" lIns="0" tIns="0" rIns="0" bIns="0" rtlCol="0">
            <a:spAutoFit/>
          </a:bodyPr>
          <a:lstStyle/>
          <a:p>
            <a:pPr>
              <a:lnSpc>
                <a:spcPct val="110000"/>
              </a:lnSpc>
            </a:pPr>
            <a:r>
              <a:rPr lang="en-US" dirty="0">
                <a:solidFill>
                  <a:schemeClr val="tx2"/>
                </a:solidFill>
              </a:rPr>
              <a:t>Theoretical:</a:t>
            </a:r>
          </a:p>
          <a:p>
            <a:pPr marL="285750" indent="-285750">
              <a:lnSpc>
                <a:spcPct val="110000"/>
              </a:lnSpc>
              <a:buFont typeface="Wingdings" panose="05000000000000000000" pitchFamily="2" charset="2"/>
              <a:buChar char="§"/>
            </a:pPr>
            <a:r>
              <a:rPr lang="en-US" dirty="0">
                <a:solidFill>
                  <a:schemeClr val="tx2"/>
                </a:solidFill>
              </a:rPr>
              <a:t>Handling other types of data drifts</a:t>
            </a:r>
          </a:p>
          <a:p>
            <a:pPr marL="269875" indent="-269875">
              <a:lnSpc>
                <a:spcPct val="110000"/>
              </a:lnSpc>
              <a:buFont typeface="Wingdings" panose="05000000000000000000" pitchFamily="2" charset="2"/>
              <a:buChar char="§"/>
            </a:pPr>
            <a:r>
              <a:rPr lang="en-US" dirty="0">
                <a:solidFill>
                  <a:schemeClr val="tx2"/>
                </a:solidFill>
              </a:rPr>
              <a:t>Performance evaluation </a:t>
            </a:r>
            <a:r>
              <a:rPr lang="en-US">
                <a:solidFill>
                  <a:schemeClr val="tx2"/>
                </a:solidFill>
              </a:rPr>
              <a:t>when</a:t>
            </a:r>
            <a:r>
              <a:rPr lang="en-US" dirty="0">
                <a:solidFill>
                  <a:schemeClr val="tx2"/>
                </a:solidFill>
              </a:rPr>
              <a:t> weights are </a:t>
            </a:r>
            <a:r>
              <a:rPr lang="en-US">
                <a:solidFill>
                  <a:schemeClr val="tx2"/>
                </a:solidFill>
              </a:rPr>
              <a:t>numerically approximated</a:t>
            </a:r>
            <a:endParaRPr lang="en-US" dirty="0">
              <a:solidFill>
                <a:schemeClr val="tx2"/>
              </a:solidFill>
            </a:endParaRPr>
          </a:p>
          <a:p>
            <a:pPr marL="269875" indent="-269875">
              <a:lnSpc>
                <a:spcPct val="110000"/>
              </a:lnSpc>
              <a:buFont typeface="Wingdings" panose="05000000000000000000" pitchFamily="2" charset="2"/>
              <a:buChar char="§"/>
            </a:pPr>
            <a:r>
              <a:rPr lang="en-US" dirty="0">
                <a:solidFill>
                  <a:schemeClr val="tx2"/>
                </a:solidFill>
              </a:rPr>
              <a:t>Extension to classification problems</a:t>
            </a:r>
          </a:p>
          <a:p>
            <a:pPr marL="269875" indent="-269875">
              <a:lnSpc>
                <a:spcPct val="110000"/>
              </a:lnSpc>
              <a:buFont typeface="Wingdings" panose="05000000000000000000" pitchFamily="2" charset="2"/>
              <a:buChar char="§"/>
            </a:pPr>
            <a:endParaRPr lang="en-US" dirty="0">
              <a:solidFill>
                <a:schemeClr val="tx2"/>
              </a:solidFill>
            </a:endParaRPr>
          </a:p>
          <a:p>
            <a:pPr>
              <a:lnSpc>
                <a:spcPct val="110000"/>
              </a:lnSpc>
            </a:pPr>
            <a:r>
              <a:rPr lang="en-US" dirty="0">
                <a:solidFill>
                  <a:schemeClr val="tx2"/>
                </a:solidFill>
              </a:rPr>
              <a:t>Application:</a:t>
            </a:r>
          </a:p>
          <a:p>
            <a:pPr marL="269875" indent="-269875">
              <a:lnSpc>
                <a:spcPct val="110000"/>
              </a:lnSpc>
              <a:buFont typeface="Wingdings" panose="05000000000000000000" pitchFamily="2" charset="2"/>
              <a:buChar char="§"/>
            </a:pPr>
            <a:r>
              <a:rPr lang="en-US" dirty="0">
                <a:solidFill>
                  <a:schemeClr val="tx2"/>
                </a:solidFill>
              </a:rPr>
              <a:t>Evaluation of discrimination risks</a:t>
            </a:r>
          </a:p>
          <a:p>
            <a:pPr>
              <a:lnSpc>
                <a:spcPct val="110000"/>
              </a:lnSpc>
            </a:pPr>
            <a:endParaRPr lang="en-US" sz="2000" dirty="0">
              <a:solidFill>
                <a:schemeClr val="tx2"/>
              </a:solidFill>
            </a:endParaRPr>
          </a:p>
          <a:p>
            <a:pPr marL="269875" indent="-269875">
              <a:lnSpc>
                <a:spcPct val="110000"/>
              </a:lnSpc>
              <a:buFont typeface="Wingdings" panose="05000000000000000000" pitchFamily="2" charset="2"/>
              <a:buChar char="§"/>
            </a:pPr>
            <a:endParaRPr lang="de-DE" sz="2000" dirty="0">
              <a:solidFill>
                <a:schemeClr val="tx2"/>
              </a:solidFill>
            </a:endParaRPr>
          </a:p>
        </p:txBody>
      </p:sp>
      <p:sp>
        <p:nvSpPr>
          <p:cNvPr id="8" name="TextBox 7">
            <a:extLst>
              <a:ext uri="{FF2B5EF4-FFF2-40B4-BE49-F238E27FC236}">
                <a16:creationId xmlns:a16="http://schemas.microsoft.com/office/drawing/2014/main" id="{788DBA0B-E541-7343-D6E6-42B7062CBA79}"/>
              </a:ext>
            </a:extLst>
          </p:cNvPr>
          <p:cNvSpPr txBox="1"/>
          <p:nvPr/>
        </p:nvSpPr>
        <p:spPr>
          <a:xfrm>
            <a:off x="3822857" y="6062199"/>
            <a:ext cx="272510" cy="281103"/>
          </a:xfrm>
          <a:prstGeom prst="rect">
            <a:avLst/>
          </a:prstGeom>
          <a:noFill/>
          <a:effectLst/>
        </p:spPr>
        <p:txBody>
          <a:bodyPr wrap="none" lIns="0" tIns="0" rIns="0" bIns="0" rtlCol="0">
            <a:spAutoFit/>
          </a:bodyPr>
          <a:lstStyle/>
          <a:p>
            <a:pPr marL="269875" indent="-269875">
              <a:lnSpc>
                <a:spcPct val="110000"/>
              </a:lnSpc>
              <a:buFont typeface="Wingdings" panose="05000000000000000000" pitchFamily="2" charset="2"/>
              <a:buChar char="§"/>
            </a:pPr>
            <a:endParaRPr lang="de-DE" err="1">
              <a:solidFill>
                <a:schemeClr val="tx2"/>
              </a:solidFill>
            </a:endParaRPr>
          </a:p>
        </p:txBody>
      </p:sp>
      <p:sp>
        <p:nvSpPr>
          <p:cNvPr id="3" name="Title 5">
            <a:extLst>
              <a:ext uri="{FF2B5EF4-FFF2-40B4-BE49-F238E27FC236}">
                <a16:creationId xmlns:a16="http://schemas.microsoft.com/office/drawing/2014/main" id="{3456C69C-32BB-644A-09B5-3DDDA1FBE487}"/>
              </a:ext>
            </a:extLst>
          </p:cNvPr>
          <p:cNvSpPr txBox="1">
            <a:spLocks/>
          </p:cNvSpPr>
          <p:nvPr/>
        </p:nvSpPr>
        <p:spPr>
          <a:xfrm>
            <a:off x="3476014" y="5144228"/>
            <a:ext cx="5239972" cy="577098"/>
          </a:xfrm>
          <a:prstGeom prst="rect">
            <a:avLst/>
          </a:prstGeom>
        </p:spPr>
        <p:txBody>
          <a:bodyPr vert="horz" lIns="0" tIns="0" rIns="0" bIns="0" rtlCol="0" anchor="t" anchorCtr="0">
            <a:noAutofit/>
          </a:bodyPr>
          <a:lstStyle>
            <a:defPPr>
              <a:defRPr lang="x-none"/>
            </a:defPPr>
            <a:lvl1pPr marL="0" algn="l" defTabSz="914377" rtl="0" eaLnBrk="1" latinLnBrk="0" hangingPunct="1">
              <a:spcBef>
                <a:spcPct val="0"/>
              </a:spcBef>
              <a:buNone/>
              <a:defRPr sz="1800" kern="1200" baseline="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3600" dirty="0">
                <a:solidFill>
                  <a:schemeClr val="accent1"/>
                </a:solidFill>
              </a:rPr>
              <a:t>Thank You!   Questions?</a:t>
            </a:r>
            <a:endParaRPr lang="la-Latn" sz="3600" dirty="0">
              <a:solidFill>
                <a:schemeClr val="accent1"/>
              </a:solidFill>
            </a:endParaRPr>
          </a:p>
        </p:txBody>
      </p:sp>
      <p:sp>
        <p:nvSpPr>
          <p:cNvPr id="7" name="Title 4">
            <a:extLst>
              <a:ext uri="{FF2B5EF4-FFF2-40B4-BE49-F238E27FC236}">
                <a16:creationId xmlns:a16="http://schemas.microsoft.com/office/drawing/2014/main" id="{2689C361-328F-DD1B-7D94-90D915E3B60B}"/>
              </a:ext>
            </a:extLst>
          </p:cNvPr>
          <p:cNvSpPr>
            <a:spLocks noGrp="1"/>
          </p:cNvSpPr>
          <p:nvPr>
            <p:ph type="title"/>
          </p:nvPr>
        </p:nvSpPr>
        <p:spPr>
          <a:xfrm>
            <a:off x="408000" y="480000"/>
            <a:ext cx="9024000" cy="816000"/>
          </a:xfrm>
        </p:spPr>
        <p:txBody>
          <a:bodyPr vert="horz"/>
          <a:lstStyle/>
          <a:p>
            <a:r>
              <a:rPr lang="en-US" sz="2670" dirty="0">
                <a:solidFill>
                  <a:schemeClr val="tx1"/>
                </a:solidFill>
              </a:rPr>
              <a:t>Next steps</a:t>
            </a:r>
            <a:br>
              <a:rPr lang="en-GB" dirty="0">
                <a:solidFill>
                  <a:srgbClr val="0066FF"/>
                </a:solidFill>
              </a:rPr>
            </a:br>
            <a:r>
              <a:rPr lang="en-GB" sz="2133" dirty="0">
                <a:solidFill>
                  <a:schemeClr val="bg1">
                    <a:lumMod val="50000"/>
                  </a:schemeClr>
                </a:solidFill>
              </a:rPr>
              <a:t>Future direction to explore</a:t>
            </a:r>
            <a:endParaRPr lang="en-GB" sz="1867" dirty="0">
              <a:solidFill>
                <a:schemeClr val="bg1">
                  <a:lumMod val="50000"/>
                </a:schemeClr>
              </a:solidFill>
            </a:endParaRPr>
          </a:p>
        </p:txBody>
      </p:sp>
      <p:sp>
        <p:nvSpPr>
          <p:cNvPr id="5" name="Rectangle 4">
            <a:extLst>
              <a:ext uri="{FF2B5EF4-FFF2-40B4-BE49-F238E27FC236}">
                <a16:creationId xmlns:a16="http://schemas.microsoft.com/office/drawing/2014/main" id="{B3F9B335-B55E-CD19-65D0-754BD7F53E14}"/>
              </a:ext>
            </a:extLst>
          </p:cNvPr>
          <p:cNvSpPr/>
          <p:nvPr/>
        </p:nvSpPr>
        <p:spPr>
          <a:xfrm>
            <a:off x="0" y="1822408"/>
            <a:ext cx="12192000" cy="2968186"/>
          </a:xfrm>
          <a:prstGeom prst="rect">
            <a:avLst/>
          </a:prstGeom>
          <a:solidFill>
            <a:schemeClr val="accent1">
              <a:lumMod val="75000"/>
              <a:alpha val="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Tree>
    <p:extLst>
      <p:ext uri="{BB962C8B-B14F-4D97-AF65-F5344CB8AC3E}">
        <p14:creationId xmlns:p14="http://schemas.microsoft.com/office/powerpoint/2010/main" val="145125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a:extLst>
              <a:ext uri="{FF2B5EF4-FFF2-40B4-BE49-F238E27FC236}">
                <a16:creationId xmlns:a16="http://schemas.microsoft.com/office/drawing/2014/main" id="{3C106555-CFAD-F9B1-A7EF-97D43B90FD18}"/>
              </a:ext>
            </a:extLst>
          </p:cNvPr>
          <p:cNvSpPr/>
          <p:nvPr/>
        </p:nvSpPr>
        <p:spPr>
          <a:xfrm>
            <a:off x="-7" y="2045040"/>
            <a:ext cx="12192008" cy="3416073"/>
          </a:xfrm>
          <a:prstGeom prst="rect">
            <a:avLst/>
          </a:prstGeom>
          <a:solidFill>
            <a:schemeClr val="tx2">
              <a:alpha val="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5" name="Rechteck 27">
            <a:extLst>
              <a:ext uri="{FF2B5EF4-FFF2-40B4-BE49-F238E27FC236}">
                <a16:creationId xmlns:a16="http://schemas.microsoft.com/office/drawing/2014/main" id="{4A935950-756A-71F5-5217-A656FBED587C}"/>
              </a:ext>
            </a:extLst>
          </p:cNvPr>
          <p:cNvSpPr/>
          <p:nvPr/>
        </p:nvSpPr>
        <p:spPr>
          <a:xfrm>
            <a:off x="408000" y="3841971"/>
            <a:ext cx="3360000" cy="6675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336000" rtlCol="0" anchor="b" anchorCtr="0">
            <a:spAutoFit/>
          </a:bodyPr>
          <a:lstStyle/>
          <a:p>
            <a:pPr defTabSz="914332">
              <a:defRPr/>
            </a:pPr>
            <a:r>
              <a:rPr lang="en-US" sz="2133" dirty="0">
                <a:solidFill>
                  <a:srgbClr val="3350B8"/>
                </a:solidFill>
                <a:latin typeface="Arial"/>
                <a:ea typeface="Arial Unicode MS"/>
                <a:cs typeface="Arial"/>
              </a:rPr>
              <a:t>Motivation</a:t>
            </a:r>
            <a:endParaRPr lang="en-GB" sz="2133" dirty="0">
              <a:solidFill>
                <a:srgbClr val="3350B8"/>
              </a:solidFill>
              <a:latin typeface="Arial"/>
              <a:ea typeface="Arial Unicode MS"/>
              <a:cs typeface="Arial"/>
            </a:endParaRPr>
          </a:p>
        </p:txBody>
      </p:sp>
      <p:sp>
        <p:nvSpPr>
          <p:cNvPr id="16" name="Rechteck 28">
            <a:extLst>
              <a:ext uri="{FF2B5EF4-FFF2-40B4-BE49-F238E27FC236}">
                <a16:creationId xmlns:a16="http://schemas.microsoft.com/office/drawing/2014/main" id="{40FAD6CF-C165-8219-AF16-33ABF448631A}"/>
              </a:ext>
            </a:extLst>
          </p:cNvPr>
          <p:cNvSpPr/>
          <p:nvPr/>
        </p:nvSpPr>
        <p:spPr>
          <a:xfrm>
            <a:off x="3365282" y="3846896"/>
            <a:ext cx="2642515" cy="6675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336000" rtlCol="0" anchor="b" anchorCtr="0">
            <a:spAutoFit/>
          </a:bodyPr>
          <a:lstStyle/>
          <a:p>
            <a:pPr defTabSz="914332">
              <a:defRPr/>
            </a:pPr>
            <a:r>
              <a:rPr lang="en-GB" sz="2133" dirty="0">
                <a:solidFill>
                  <a:srgbClr val="3350B8"/>
                </a:solidFill>
                <a:latin typeface="Arial"/>
                <a:ea typeface="Arial Unicode MS"/>
                <a:cs typeface="Arial"/>
              </a:rPr>
              <a:t>Methodology</a:t>
            </a:r>
          </a:p>
        </p:txBody>
      </p:sp>
      <p:sp>
        <p:nvSpPr>
          <p:cNvPr id="17" name="Rechteck 28">
            <a:extLst>
              <a:ext uri="{FF2B5EF4-FFF2-40B4-BE49-F238E27FC236}">
                <a16:creationId xmlns:a16="http://schemas.microsoft.com/office/drawing/2014/main" id="{19441F76-1AAF-F0AB-9875-D5A26975572E}"/>
              </a:ext>
            </a:extLst>
          </p:cNvPr>
          <p:cNvSpPr/>
          <p:nvPr/>
        </p:nvSpPr>
        <p:spPr>
          <a:xfrm>
            <a:off x="9304604" y="3837917"/>
            <a:ext cx="3360000" cy="6675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336000" rtlCol="0" anchor="b" anchorCtr="0">
            <a:spAutoFit/>
          </a:bodyPr>
          <a:lstStyle/>
          <a:p>
            <a:pPr defTabSz="914332">
              <a:defRPr/>
            </a:pPr>
            <a:r>
              <a:rPr lang="en-US" sz="2133" dirty="0">
                <a:solidFill>
                  <a:srgbClr val="3350B8"/>
                </a:solidFill>
                <a:latin typeface="Arial"/>
                <a:ea typeface="Arial Unicode MS"/>
                <a:cs typeface="Arial"/>
              </a:rPr>
              <a:t>Next Steps</a:t>
            </a:r>
          </a:p>
        </p:txBody>
      </p:sp>
      <p:cxnSp>
        <p:nvCxnSpPr>
          <p:cNvPr id="19" name="Gerader Verbinder 18">
            <a:extLst>
              <a:ext uri="{FF2B5EF4-FFF2-40B4-BE49-F238E27FC236}">
                <a16:creationId xmlns:a16="http://schemas.microsoft.com/office/drawing/2014/main" id="{DC20061F-F3C2-9351-A313-0C91DD37E9F3}"/>
              </a:ext>
            </a:extLst>
          </p:cNvPr>
          <p:cNvCxnSpPr>
            <a:cxnSpLocks/>
          </p:cNvCxnSpPr>
          <p:nvPr/>
        </p:nvCxnSpPr>
        <p:spPr>
          <a:xfrm>
            <a:off x="3242210" y="2337076"/>
            <a:ext cx="0" cy="283200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6B526F0-9386-823C-28C8-3BB6FFBF68CA}"/>
              </a:ext>
            </a:extLst>
          </p:cNvPr>
          <p:cNvCxnSpPr>
            <a:cxnSpLocks/>
          </p:cNvCxnSpPr>
          <p:nvPr/>
        </p:nvCxnSpPr>
        <p:spPr>
          <a:xfrm>
            <a:off x="6333053" y="2337076"/>
            <a:ext cx="0" cy="283200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sp>
        <p:nvSpPr>
          <p:cNvPr id="24" name="Rechteck 24">
            <a:extLst>
              <a:ext uri="{FF2B5EF4-FFF2-40B4-BE49-F238E27FC236}">
                <a16:creationId xmlns:a16="http://schemas.microsoft.com/office/drawing/2014/main" id="{B6BD455C-A5A1-2013-8FF8-00023381BA9C}"/>
              </a:ext>
            </a:extLst>
          </p:cNvPr>
          <p:cNvSpPr/>
          <p:nvPr/>
        </p:nvSpPr>
        <p:spPr>
          <a:xfrm>
            <a:off x="352000" y="2045040"/>
            <a:ext cx="1127580" cy="10482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144000" rIns="288000" bIns="0" rtlCol="0" anchor="t" anchorCtr="0">
            <a:spAutoFit/>
          </a:bodyPr>
          <a:lstStyle/>
          <a:p>
            <a:r>
              <a:rPr lang="en-GB" sz="5867">
                <a:solidFill>
                  <a:srgbClr val="3350B8"/>
                </a:solidFill>
              </a:rPr>
              <a:t>01</a:t>
            </a:r>
          </a:p>
        </p:txBody>
      </p:sp>
      <p:sp>
        <p:nvSpPr>
          <p:cNvPr id="25" name="Rechteck 25">
            <a:extLst>
              <a:ext uri="{FF2B5EF4-FFF2-40B4-BE49-F238E27FC236}">
                <a16:creationId xmlns:a16="http://schemas.microsoft.com/office/drawing/2014/main" id="{4EDC2A0E-D166-3499-7E3B-6C939B3988E9}"/>
              </a:ext>
            </a:extLst>
          </p:cNvPr>
          <p:cNvSpPr/>
          <p:nvPr/>
        </p:nvSpPr>
        <p:spPr>
          <a:xfrm>
            <a:off x="3452418" y="2120741"/>
            <a:ext cx="1127580" cy="10482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144000" rIns="288000" bIns="0" rtlCol="0" anchor="t" anchorCtr="0">
            <a:spAutoFit/>
          </a:bodyPr>
          <a:lstStyle/>
          <a:p>
            <a:r>
              <a:rPr lang="en-GB" sz="5867" dirty="0">
                <a:solidFill>
                  <a:srgbClr val="3350B8"/>
                </a:solidFill>
              </a:rPr>
              <a:t>02</a:t>
            </a:r>
          </a:p>
        </p:txBody>
      </p:sp>
      <p:sp>
        <p:nvSpPr>
          <p:cNvPr id="26" name="Rechteck 26">
            <a:extLst>
              <a:ext uri="{FF2B5EF4-FFF2-40B4-BE49-F238E27FC236}">
                <a16:creationId xmlns:a16="http://schemas.microsoft.com/office/drawing/2014/main" id="{7D238229-8711-8167-B5EE-EC4914BC8F97}"/>
              </a:ext>
            </a:extLst>
          </p:cNvPr>
          <p:cNvSpPr/>
          <p:nvPr/>
        </p:nvSpPr>
        <p:spPr>
          <a:xfrm>
            <a:off x="9354450" y="2151679"/>
            <a:ext cx="1127580" cy="10482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144000" rIns="288000" bIns="0" rtlCol="0" anchor="t" anchorCtr="0">
            <a:spAutoFit/>
          </a:bodyPr>
          <a:lstStyle/>
          <a:p>
            <a:r>
              <a:rPr lang="en-GB" sz="5867" dirty="0">
                <a:solidFill>
                  <a:srgbClr val="3350B8"/>
                </a:solidFill>
              </a:rPr>
              <a:t>04</a:t>
            </a:r>
          </a:p>
        </p:txBody>
      </p:sp>
      <p:graphicFrame>
        <p:nvGraphicFramePr>
          <p:cNvPr id="10" name="Object 9" hidden="1">
            <a:extLst>
              <a:ext uri="{FF2B5EF4-FFF2-40B4-BE49-F238E27FC236}">
                <a16:creationId xmlns:a16="http://schemas.microsoft.com/office/drawing/2014/main" id="{364303BE-CADC-9039-3704-D98A28AC191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0" name="Object 9" hidden="1">
                        <a:extLst>
                          <a:ext uri="{FF2B5EF4-FFF2-40B4-BE49-F238E27FC236}">
                            <a16:creationId xmlns:a16="http://schemas.microsoft.com/office/drawing/2014/main" id="{364303BE-CADC-9039-3704-D98A28AC191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22DF4CD-80EB-9199-B899-9FA2E996762E}"/>
              </a:ext>
            </a:extLst>
          </p:cNvPr>
          <p:cNvSpPr>
            <a:spLocks noGrp="1"/>
          </p:cNvSpPr>
          <p:nvPr>
            <p:ph type="sldNum" sz="quarter" idx="11"/>
          </p:nvPr>
        </p:nvSpPr>
        <p:spPr/>
        <p:txBody>
          <a:bodyPr/>
          <a:lstStyle/>
          <a:p>
            <a:fld id="{D94909C6-CC71-4962-A18E-AF0515723D95}" type="slidenum">
              <a:rPr lang="en-GB" smtClean="0"/>
              <a:pPr/>
              <a:t>2</a:t>
            </a:fld>
            <a:endParaRPr lang="en-GB"/>
          </a:p>
        </p:txBody>
      </p:sp>
      <p:sp>
        <p:nvSpPr>
          <p:cNvPr id="5" name="Title 4">
            <a:extLst>
              <a:ext uri="{FF2B5EF4-FFF2-40B4-BE49-F238E27FC236}">
                <a16:creationId xmlns:a16="http://schemas.microsoft.com/office/drawing/2014/main" id="{108A6CCA-BB9F-76AC-65A3-74B18AD4E3B2}"/>
              </a:ext>
            </a:extLst>
          </p:cNvPr>
          <p:cNvSpPr>
            <a:spLocks noGrp="1"/>
          </p:cNvSpPr>
          <p:nvPr>
            <p:ph type="title"/>
          </p:nvPr>
        </p:nvSpPr>
        <p:spPr/>
        <p:txBody>
          <a:bodyPr vert="horz"/>
          <a:lstStyle/>
          <a:p>
            <a:r>
              <a:rPr lang="en-GB">
                <a:solidFill>
                  <a:schemeClr val="tx1"/>
                </a:solidFill>
              </a:rPr>
              <a:t>Agenda</a:t>
            </a:r>
          </a:p>
        </p:txBody>
      </p:sp>
      <p:cxnSp>
        <p:nvCxnSpPr>
          <p:cNvPr id="12" name="Gerader Verbinder 11">
            <a:extLst>
              <a:ext uri="{FF2B5EF4-FFF2-40B4-BE49-F238E27FC236}">
                <a16:creationId xmlns:a16="http://schemas.microsoft.com/office/drawing/2014/main" id="{54B287DD-FE30-2D4F-1692-FE511B9C4FCD}"/>
              </a:ext>
            </a:extLst>
          </p:cNvPr>
          <p:cNvCxnSpPr>
            <a:cxnSpLocks/>
          </p:cNvCxnSpPr>
          <p:nvPr/>
        </p:nvCxnSpPr>
        <p:spPr>
          <a:xfrm>
            <a:off x="0" y="-1168400"/>
            <a:ext cx="0" cy="6604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9DCB3A72-70FA-E675-305B-9392B041DEE4}"/>
              </a:ext>
            </a:extLst>
          </p:cNvPr>
          <p:cNvPicPr>
            <a:picLocks noChangeAspect="1"/>
          </p:cNvPicPr>
          <p:nvPr/>
        </p:nvPicPr>
        <p:blipFill>
          <a:blip r:embed="rId6"/>
          <a:stretch>
            <a:fillRect/>
          </a:stretch>
        </p:blipFill>
        <p:spPr>
          <a:xfrm>
            <a:off x="12463951" y="2970701"/>
            <a:ext cx="2311400" cy="3797300"/>
          </a:xfrm>
          <a:prstGeom prst="rect">
            <a:avLst/>
          </a:prstGeom>
        </p:spPr>
      </p:pic>
      <p:cxnSp>
        <p:nvCxnSpPr>
          <p:cNvPr id="8" name="Straight Connector 7">
            <a:extLst>
              <a:ext uri="{FF2B5EF4-FFF2-40B4-BE49-F238E27FC236}">
                <a16:creationId xmlns:a16="http://schemas.microsoft.com/office/drawing/2014/main" id="{1BC9F37E-6593-E443-964B-A75E38B7B536}"/>
              </a:ext>
            </a:extLst>
          </p:cNvPr>
          <p:cNvCxnSpPr>
            <a:cxnSpLocks/>
          </p:cNvCxnSpPr>
          <p:nvPr/>
        </p:nvCxnSpPr>
        <p:spPr>
          <a:xfrm>
            <a:off x="318748" y="3108300"/>
            <a:ext cx="1938315" cy="0"/>
          </a:xfrm>
          <a:prstGeom prst="line">
            <a:avLst/>
          </a:prstGeom>
          <a:ln w="12700">
            <a:solidFill>
              <a:srgbClr val="3350B8"/>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1585539-B1EB-76F0-745F-C10ED28CBB52}"/>
              </a:ext>
            </a:extLst>
          </p:cNvPr>
          <p:cNvPicPr>
            <a:picLocks noChangeAspect="1"/>
          </p:cNvPicPr>
          <p:nvPr/>
        </p:nvPicPr>
        <p:blipFill>
          <a:blip r:embed="rId7"/>
          <a:stretch>
            <a:fillRect/>
          </a:stretch>
        </p:blipFill>
        <p:spPr>
          <a:xfrm>
            <a:off x="12315072" y="1037086"/>
            <a:ext cx="2609157" cy="1916329"/>
          </a:xfrm>
          <a:prstGeom prst="rect">
            <a:avLst/>
          </a:prstGeom>
        </p:spPr>
      </p:pic>
      <p:cxnSp>
        <p:nvCxnSpPr>
          <p:cNvPr id="29" name="Straight Connector 28">
            <a:extLst>
              <a:ext uri="{FF2B5EF4-FFF2-40B4-BE49-F238E27FC236}">
                <a16:creationId xmlns:a16="http://schemas.microsoft.com/office/drawing/2014/main" id="{11A975D4-F88D-9775-5DC6-3AE2AC00BA83}"/>
              </a:ext>
            </a:extLst>
          </p:cNvPr>
          <p:cNvCxnSpPr>
            <a:cxnSpLocks/>
          </p:cNvCxnSpPr>
          <p:nvPr/>
        </p:nvCxnSpPr>
        <p:spPr>
          <a:xfrm>
            <a:off x="3417276" y="3146481"/>
            <a:ext cx="1938315" cy="0"/>
          </a:xfrm>
          <a:prstGeom prst="line">
            <a:avLst/>
          </a:prstGeom>
          <a:ln w="12700">
            <a:solidFill>
              <a:srgbClr val="3350B8"/>
            </a:solidFill>
          </a:ln>
        </p:spPr>
        <p:style>
          <a:lnRef idx="1">
            <a:schemeClr val="accent1"/>
          </a:lnRef>
          <a:fillRef idx="0">
            <a:schemeClr val="accent1"/>
          </a:fillRef>
          <a:effectRef idx="0">
            <a:schemeClr val="accent1"/>
          </a:effectRef>
          <a:fontRef idx="minor">
            <a:schemeClr val="tx1"/>
          </a:fontRef>
        </p:style>
      </p:cxnSp>
      <p:cxnSp>
        <p:nvCxnSpPr>
          <p:cNvPr id="30" name="Gerader Verbinder 20">
            <a:extLst>
              <a:ext uri="{FF2B5EF4-FFF2-40B4-BE49-F238E27FC236}">
                <a16:creationId xmlns:a16="http://schemas.microsoft.com/office/drawing/2014/main" id="{06BE6059-806D-0EC8-1B2D-B91C9AE3DF4D}"/>
              </a:ext>
            </a:extLst>
          </p:cNvPr>
          <p:cNvCxnSpPr>
            <a:cxnSpLocks/>
          </p:cNvCxnSpPr>
          <p:nvPr/>
        </p:nvCxnSpPr>
        <p:spPr>
          <a:xfrm>
            <a:off x="9190892" y="2392714"/>
            <a:ext cx="0" cy="2832000"/>
          </a:xfrm>
          <a:prstGeom prst="line">
            <a:avLst/>
          </a:prstGeom>
          <a:ln w="12700">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sp>
        <p:nvSpPr>
          <p:cNvPr id="31" name="Rechteck 28">
            <a:extLst>
              <a:ext uri="{FF2B5EF4-FFF2-40B4-BE49-F238E27FC236}">
                <a16:creationId xmlns:a16="http://schemas.microsoft.com/office/drawing/2014/main" id="{6E2E6008-43AF-B6FC-316B-9F343A15BF1F}"/>
              </a:ext>
            </a:extLst>
          </p:cNvPr>
          <p:cNvSpPr/>
          <p:nvPr/>
        </p:nvSpPr>
        <p:spPr>
          <a:xfrm>
            <a:off x="6496611" y="3808996"/>
            <a:ext cx="2642515" cy="6675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336000" rtlCol="0" anchor="b" anchorCtr="0">
            <a:spAutoFit/>
          </a:bodyPr>
          <a:lstStyle/>
          <a:p>
            <a:pPr defTabSz="914332">
              <a:defRPr/>
            </a:pPr>
            <a:r>
              <a:rPr lang="en-GB" sz="2133" dirty="0">
                <a:solidFill>
                  <a:srgbClr val="3350B8"/>
                </a:solidFill>
                <a:latin typeface="Arial"/>
                <a:ea typeface="Arial Unicode MS"/>
                <a:cs typeface="Arial"/>
              </a:rPr>
              <a:t>Results</a:t>
            </a:r>
          </a:p>
        </p:txBody>
      </p:sp>
      <p:sp>
        <p:nvSpPr>
          <p:cNvPr id="32" name="Rechteck 25">
            <a:extLst>
              <a:ext uri="{FF2B5EF4-FFF2-40B4-BE49-F238E27FC236}">
                <a16:creationId xmlns:a16="http://schemas.microsoft.com/office/drawing/2014/main" id="{2984DF62-4E09-4CE2-C307-30041368FE5C}"/>
              </a:ext>
            </a:extLst>
          </p:cNvPr>
          <p:cNvSpPr/>
          <p:nvPr/>
        </p:nvSpPr>
        <p:spPr>
          <a:xfrm>
            <a:off x="6514297" y="2082841"/>
            <a:ext cx="1127580" cy="10482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144000" rIns="288000" bIns="0" rtlCol="0" anchor="t" anchorCtr="0">
            <a:spAutoFit/>
          </a:bodyPr>
          <a:lstStyle/>
          <a:p>
            <a:r>
              <a:rPr lang="en-GB" sz="5867" dirty="0">
                <a:solidFill>
                  <a:srgbClr val="3350B8"/>
                </a:solidFill>
              </a:rPr>
              <a:t>03</a:t>
            </a:r>
          </a:p>
        </p:txBody>
      </p:sp>
      <p:cxnSp>
        <p:nvCxnSpPr>
          <p:cNvPr id="33" name="Straight Connector 32">
            <a:extLst>
              <a:ext uri="{FF2B5EF4-FFF2-40B4-BE49-F238E27FC236}">
                <a16:creationId xmlns:a16="http://schemas.microsoft.com/office/drawing/2014/main" id="{968B38BC-967B-5EE1-4C83-1D337D09909B}"/>
              </a:ext>
            </a:extLst>
          </p:cNvPr>
          <p:cNvCxnSpPr>
            <a:cxnSpLocks/>
          </p:cNvCxnSpPr>
          <p:nvPr/>
        </p:nvCxnSpPr>
        <p:spPr>
          <a:xfrm>
            <a:off x="6487743" y="3139337"/>
            <a:ext cx="1938315" cy="0"/>
          </a:xfrm>
          <a:prstGeom prst="line">
            <a:avLst/>
          </a:prstGeom>
          <a:ln w="12700">
            <a:solidFill>
              <a:srgbClr val="3350B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D382858-7924-BA7D-8BFC-FCB72120EB10}"/>
              </a:ext>
            </a:extLst>
          </p:cNvPr>
          <p:cNvCxnSpPr>
            <a:cxnSpLocks/>
          </p:cNvCxnSpPr>
          <p:nvPr/>
        </p:nvCxnSpPr>
        <p:spPr>
          <a:xfrm>
            <a:off x="9432000" y="3139054"/>
            <a:ext cx="1938315" cy="0"/>
          </a:xfrm>
          <a:prstGeom prst="line">
            <a:avLst/>
          </a:prstGeom>
          <a:ln w="12700">
            <a:solidFill>
              <a:srgbClr val="3350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54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Shape, square&#10;&#10;Description automatically generated with medium confidence">
            <a:extLst>
              <a:ext uri="{FF2B5EF4-FFF2-40B4-BE49-F238E27FC236}">
                <a16:creationId xmlns:a16="http://schemas.microsoft.com/office/drawing/2014/main" id="{F9B5662E-B399-4385-80C1-C6C5921B7C73}"/>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39978" b="39978"/>
          <a:stretch>
            <a:fillRect/>
          </a:stretch>
        </p:blipFill>
        <p:spPr>
          <a:xfrm>
            <a:off x="0" y="-51372"/>
            <a:ext cx="12192000" cy="6909371"/>
          </a:xfrm>
        </p:spPr>
      </p:pic>
      <p:sp>
        <p:nvSpPr>
          <p:cNvPr id="18" name="Rectangle 11">
            <a:extLst>
              <a:ext uri="{FF2B5EF4-FFF2-40B4-BE49-F238E27FC236}">
                <a16:creationId xmlns:a16="http://schemas.microsoft.com/office/drawing/2014/main" id="{93148A00-BC0A-4D80-87A4-8AFCDF9FF389}"/>
              </a:ext>
            </a:extLst>
          </p:cNvPr>
          <p:cNvSpPr/>
          <p:nvPr/>
        </p:nvSpPr>
        <p:spPr>
          <a:xfrm>
            <a:off x="22261" y="2342508"/>
            <a:ext cx="12192000" cy="1941816"/>
          </a:xfrm>
          <a:prstGeom prst="rect">
            <a:avLst/>
          </a:prstGeom>
          <a:solidFill>
            <a:schemeClr val="accent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aphicFrame>
        <p:nvGraphicFramePr>
          <p:cNvPr id="6" name="Objekt 5" hidden="1">
            <a:extLst>
              <a:ext uri="{FF2B5EF4-FFF2-40B4-BE49-F238E27FC236}">
                <a16:creationId xmlns:a16="http://schemas.microsoft.com/office/drawing/2014/main" id="{ECD6A80E-5864-463A-8A1A-F9B5153B571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6" name="Objekt 5" hidden="1">
                        <a:extLst>
                          <a:ext uri="{FF2B5EF4-FFF2-40B4-BE49-F238E27FC236}">
                            <a16:creationId xmlns:a16="http://schemas.microsoft.com/office/drawing/2014/main" id="{ECD6A80E-5864-463A-8A1A-F9B5153B571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4FB4507-4B98-4C6F-B289-B777D1A574C6}"/>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3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7" name="Group 16">
            <a:extLst>
              <a:ext uri="{FF2B5EF4-FFF2-40B4-BE49-F238E27FC236}">
                <a16:creationId xmlns:a16="http://schemas.microsoft.com/office/drawing/2014/main" id="{93740A2E-CCC3-4D7F-B26B-78F7112C22B3}"/>
              </a:ext>
            </a:extLst>
          </p:cNvPr>
          <p:cNvGrpSpPr/>
          <p:nvPr/>
        </p:nvGrpSpPr>
        <p:grpSpPr>
          <a:xfrm>
            <a:off x="-489680" y="0"/>
            <a:ext cx="269824" cy="1528997"/>
            <a:chOff x="-764499" y="757003"/>
            <a:chExt cx="202368" cy="1146748"/>
          </a:xfrm>
        </p:grpSpPr>
        <p:sp>
          <p:nvSpPr>
            <p:cNvPr id="12" name="Rectangle 11">
              <a:extLst>
                <a:ext uri="{FF2B5EF4-FFF2-40B4-BE49-F238E27FC236}">
                  <a16:creationId xmlns:a16="http://schemas.microsoft.com/office/drawing/2014/main" id="{ED28759A-3C81-434B-AA44-24C99FEAC2C5}"/>
                </a:ext>
              </a:extLst>
            </p:cNvPr>
            <p:cNvSpPr/>
            <p:nvPr/>
          </p:nvSpPr>
          <p:spPr>
            <a:xfrm>
              <a:off x="-764499" y="757003"/>
              <a:ext cx="202368" cy="202368"/>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3" name="Rectangle 12">
              <a:extLst>
                <a:ext uri="{FF2B5EF4-FFF2-40B4-BE49-F238E27FC236}">
                  <a16:creationId xmlns:a16="http://schemas.microsoft.com/office/drawing/2014/main" id="{7718DB31-8EC4-4B11-BEE6-287FFEF69396}"/>
                </a:ext>
              </a:extLst>
            </p:cNvPr>
            <p:cNvSpPr/>
            <p:nvPr/>
          </p:nvSpPr>
          <p:spPr>
            <a:xfrm>
              <a:off x="-764499" y="1071796"/>
              <a:ext cx="202368" cy="202368"/>
            </a:xfrm>
            <a:prstGeom prst="rect">
              <a:avLst/>
            </a:prstGeom>
            <a:solidFill>
              <a:srgbClr val="00B4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4" name="Rectangle 13">
              <a:extLst>
                <a:ext uri="{FF2B5EF4-FFF2-40B4-BE49-F238E27FC236}">
                  <a16:creationId xmlns:a16="http://schemas.microsoft.com/office/drawing/2014/main" id="{0FFE6537-C7D0-4726-8973-73C6687B571F}"/>
                </a:ext>
              </a:extLst>
            </p:cNvPr>
            <p:cNvSpPr/>
            <p:nvPr/>
          </p:nvSpPr>
          <p:spPr>
            <a:xfrm>
              <a:off x="-764499" y="1386589"/>
              <a:ext cx="202368" cy="202368"/>
            </a:xfrm>
            <a:prstGeom prst="rect">
              <a:avLst/>
            </a:prstGeom>
            <a:solidFill>
              <a:srgbClr val="26B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5" name="Rectangle 14">
              <a:extLst>
                <a:ext uri="{FF2B5EF4-FFF2-40B4-BE49-F238E27FC236}">
                  <a16:creationId xmlns:a16="http://schemas.microsoft.com/office/drawing/2014/main" id="{9BDB601E-306D-4CD3-9B90-25D00DF79307}"/>
                </a:ext>
              </a:extLst>
            </p:cNvPr>
            <p:cNvSpPr/>
            <p:nvPr/>
          </p:nvSpPr>
          <p:spPr>
            <a:xfrm>
              <a:off x="-764499" y="1701383"/>
              <a:ext cx="202368" cy="202368"/>
            </a:xfrm>
            <a:prstGeom prst="rect">
              <a:avLst/>
            </a:prstGeom>
            <a:solidFill>
              <a:srgbClr val="57AB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pSp>
      <p:sp>
        <p:nvSpPr>
          <p:cNvPr id="5" name="TextBox 4">
            <a:extLst>
              <a:ext uri="{FF2B5EF4-FFF2-40B4-BE49-F238E27FC236}">
                <a16:creationId xmlns:a16="http://schemas.microsoft.com/office/drawing/2014/main" id="{DE58F1BD-C169-438A-8657-7828C8589B7C}"/>
              </a:ext>
            </a:extLst>
          </p:cNvPr>
          <p:cNvSpPr txBox="1"/>
          <p:nvPr/>
        </p:nvSpPr>
        <p:spPr>
          <a:xfrm>
            <a:off x="2686506" y="2938665"/>
            <a:ext cx="6482994" cy="749501"/>
          </a:xfrm>
          <a:prstGeom prst="rect">
            <a:avLst/>
          </a:prstGeom>
          <a:noFill/>
          <a:effectLst/>
        </p:spPr>
        <p:txBody>
          <a:bodyPr wrap="square" lIns="0" tIns="0" rIns="0" bIns="0" rtlCol="0" anchor="t">
            <a:spAutoFit/>
          </a:bodyPr>
          <a:lstStyle/>
          <a:p>
            <a:pPr algn="ctr">
              <a:lnSpc>
                <a:spcPct val="110000"/>
              </a:lnSpc>
            </a:pPr>
            <a:r>
              <a:rPr lang="en-GB" sz="4800" b="1" dirty="0">
                <a:solidFill>
                  <a:schemeClr val="bg1"/>
                </a:solidFill>
              </a:rPr>
              <a:t>Motivation</a:t>
            </a:r>
          </a:p>
        </p:txBody>
      </p:sp>
    </p:spTree>
    <p:extLst>
      <p:ext uri="{BB962C8B-B14F-4D97-AF65-F5344CB8AC3E}">
        <p14:creationId xmlns:p14="http://schemas.microsoft.com/office/powerpoint/2010/main" val="6984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EFB5DD-9E93-4A8C-BA7A-9CC8FAF3097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Object 5" hidden="1">
                        <a:extLst>
                          <a:ext uri="{FF2B5EF4-FFF2-40B4-BE49-F238E27FC236}">
                            <a16:creationId xmlns:a16="http://schemas.microsoft.com/office/drawing/2014/main" id="{B9EFB5DD-9E93-4A8C-BA7A-9CC8FAF3097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31DDB451-7400-32A9-5CB1-B575F98BD38F}"/>
              </a:ext>
            </a:extLst>
          </p:cNvPr>
          <p:cNvSpPr/>
          <p:nvPr/>
        </p:nvSpPr>
        <p:spPr>
          <a:xfrm>
            <a:off x="0" y="3177403"/>
            <a:ext cx="3617702" cy="1613191"/>
          </a:xfrm>
          <a:prstGeom prst="rect">
            <a:avLst/>
          </a:prstGeom>
          <a:solidFill>
            <a:schemeClr val="accent1">
              <a:lumMod val="75000"/>
              <a:alpha val="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 name="Slide Number Placeholder 1">
            <a:extLst>
              <a:ext uri="{FF2B5EF4-FFF2-40B4-BE49-F238E27FC236}">
                <a16:creationId xmlns:a16="http://schemas.microsoft.com/office/drawing/2014/main" id="{06427962-6B81-4E4D-BACC-4F8760CA7851}"/>
              </a:ext>
            </a:extLst>
          </p:cNvPr>
          <p:cNvSpPr>
            <a:spLocks noGrp="1"/>
          </p:cNvSpPr>
          <p:nvPr>
            <p:ph type="sldNum" sz="quarter" idx="11"/>
          </p:nvPr>
        </p:nvSpPr>
        <p:spPr/>
        <p:txBody>
          <a:bodyPr/>
          <a:lstStyle/>
          <a:p>
            <a:fld id="{D56DB8AA-803C-49D2-90AA-1140CE72DCD7}" type="slidenum">
              <a:rPr lang="de-DE" smtClean="0"/>
              <a:pPr/>
              <a:t>4</a:t>
            </a:fld>
            <a:endParaRPr lang="de-DE"/>
          </a:p>
        </p:txBody>
      </p:sp>
      <p:sp>
        <p:nvSpPr>
          <p:cNvPr id="11" name="Title 19">
            <a:extLst>
              <a:ext uri="{FF2B5EF4-FFF2-40B4-BE49-F238E27FC236}">
                <a16:creationId xmlns:a16="http://schemas.microsoft.com/office/drawing/2014/main" id="{199CB590-FDC8-6BB5-EFB6-3D17D66685A3}"/>
              </a:ext>
            </a:extLst>
          </p:cNvPr>
          <p:cNvSpPr txBox="1">
            <a:spLocks/>
          </p:cNvSpPr>
          <p:nvPr/>
        </p:nvSpPr>
        <p:spPr>
          <a:xfrm>
            <a:off x="336000" y="336000"/>
            <a:ext cx="9840000" cy="76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accent1"/>
                </a:solidFill>
                <a:latin typeface="+mj-lt"/>
                <a:ea typeface="+mj-ea"/>
                <a:cs typeface="+mj-cs"/>
              </a:defRPr>
            </a:lvl1pPr>
          </a:lstStyle>
          <a:p>
            <a:r>
              <a:rPr lang="en-GB" sz="2667" dirty="0">
                <a:solidFill>
                  <a:schemeClr val="tx1"/>
                </a:solidFill>
              </a:rPr>
              <a:t>AI Risks</a:t>
            </a:r>
            <a:br>
              <a:rPr lang="en-GB" sz="3733" dirty="0">
                <a:solidFill>
                  <a:schemeClr val="tx2"/>
                </a:solidFill>
              </a:rPr>
            </a:br>
            <a:r>
              <a:rPr lang="en-US" sz="2133" dirty="0">
                <a:solidFill>
                  <a:schemeClr val="tx2">
                    <a:alpha val="50000"/>
                  </a:schemeClr>
                </a:solidFill>
              </a:rPr>
              <a:t>Performance guarantees can be backed by insurance</a:t>
            </a:r>
            <a:br>
              <a:rPr lang="en-GB" sz="2667" dirty="0">
                <a:solidFill>
                  <a:schemeClr val="tx2">
                    <a:alpha val="50000"/>
                  </a:schemeClr>
                </a:solidFill>
              </a:rPr>
            </a:br>
            <a:br>
              <a:rPr lang="en-GB" sz="1467" dirty="0">
                <a:solidFill>
                  <a:schemeClr val="tx2">
                    <a:alpha val="50000"/>
                  </a:schemeClr>
                </a:solidFill>
              </a:rPr>
            </a:br>
            <a:endParaRPr lang="en-GB" sz="3733" dirty="0">
              <a:solidFill>
                <a:schemeClr val="tx2">
                  <a:alpha val="50000"/>
                </a:schemeClr>
              </a:solidFill>
            </a:endParaRPr>
          </a:p>
        </p:txBody>
      </p:sp>
      <p:sp>
        <p:nvSpPr>
          <p:cNvPr id="5" name="Oval 4">
            <a:extLst>
              <a:ext uri="{FF2B5EF4-FFF2-40B4-BE49-F238E27FC236}">
                <a16:creationId xmlns:a16="http://schemas.microsoft.com/office/drawing/2014/main" id="{6AFDE72E-21D2-F46B-9C1F-B24820321229}"/>
              </a:ext>
            </a:extLst>
          </p:cNvPr>
          <p:cNvSpPr/>
          <p:nvPr/>
        </p:nvSpPr>
        <p:spPr>
          <a:xfrm>
            <a:off x="336001" y="1610146"/>
            <a:ext cx="1368897" cy="1368897"/>
          </a:xfrm>
          <a:prstGeom prst="ellipse">
            <a:avLst/>
          </a:prstGeom>
          <a:solidFill>
            <a:schemeClr val="bg1"/>
          </a:solidFill>
          <a:ln w="12700">
            <a:solidFill>
              <a:srgbClr val="D7D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2489">
              <a:solidFill>
                <a:prstClr val="white"/>
              </a:solidFill>
              <a:latin typeface="Arial"/>
              <a:cs typeface="Arial"/>
            </a:endParaRPr>
          </a:p>
        </p:txBody>
      </p:sp>
      <p:sp>
        <p:nvSpPr>
          <p:cNvPr id="8" name="Arc 7">
            <a:extLst>
              <a:ext uri="{FF2B5EF4-FFF2-40B4-BE49-F238E27FC236}">
                <a16:creationId xmlns:a16="http://schemas.microsoft.com/office/drawing/2014/main" id="{684679E3-5165-62A7-3B9D-99EFD4832D18}"/>
              </a:ext>
            </a:extLst>
          </p:cNvPr>
          <p:cNvSpPr/>
          <p:nvPr/>
        </p:nvSpPr>
        <p:spPr>
          <a:xfrm>
            <a:off x="336001" y="1610146"/>
            <a:ext cx="1368897" cy="1368897"/>
          </a:xfrm>
          <a:prstGeom prst="arc">
            <a:avLst>
              <a:gd name="adj1" fmla="val 3514014"/>
              <a:gd name="adj2" fmla="val 7312331"/>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400">
              <a:solidFill>
                <a:srgbClr val="5618B9"/>
              </a:solidFill>
              <a:latin typeface="Arial"/>
              <a:cs typeface="Arial"/>
            </a:endParaRPr>
          </a:p>
        </p:txBody>
      </p:sp>
      <p:sp>
        <p:nvSpPr>
          <p:cNvPr id="9" name="Rectangle 8">
            <a:extLst>
              <a:ext uri="{FF2B5EF4-FFF2-40B4-BE49-F238E27FC236}">
                <a16:creationId xmlns:a16="http://schemas.microsoft.com/office/drawing/2014/main" id="{0AEA9C13-E0A2-9C63-A911-6D4395B7746C}"/>
              </a:ext>
            </a:extLst>
          </p:cNvPr>
          <p:cNvSpPr/>
          <p:nvPr/>
        </p:nvSpPr>
        <p:spPr>
          <a:xfrm>
            <a:off x="1952701" y="1487999"/>
            <a:ext cx="1486831" cy="1613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chorCtr="0"/>
          <a:lstStyle/>
          <a:p>
            <a:r>
              <a:rPr lang="en-GB" sz="1867" dirty="0">
                <a:solidFill>
                  <a:schemeClr val="accent1"/>
                </a:solidFill>
              </a:rPr>
              <a:t>Performance Risk</a:t>
            </a:r>
          </a:p>
        </p:txBody>
      </p:sp>
      <p:sp>
        <p:nvSpPr>
          <p:cNvPr id="10" name="Rectangle 9">
            <a:extLst>
              <a:ext uri="{FF2B5EF4-FFF2-40B4-BE49-F238E27FC236}">
                <a16:creationId xmlns:a16="http://schemas.microsoft.com/office/drawing/2014/main" id="{FD0A820A-E3D7-AAED-B33E-0B38AFCFE939}"/>
              </a:ext>
            </a:extLst>
          </p:cNvPr>
          <p:cNvSpPr/>
          <p:nvPr/>
        </p:nvSpPr>
        <p:spPr>
          <a:xfrm>
            <a:off x="1952701" y="3177403"/>
            <a:ext cx="1486831" cy="1613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chorCtr="0"/>
          <a:lstStyle/>
          <a:p>
            <a:r>
              <a:rPr lang="en-GB" sz="1867" dirty="0">
                <a:solidFill>
                  <a:schemeClr val="accent1"/>
                </a:solidFill>
              </a:rPr>
              <a:t>IP Infringement Risk</a:t>
            </a:r>
          </a:p>
        </p:txBody>
      </p:sp>
      <p:sp>
        <p:nvSpPr>
          <p:cNvPr id="12" name="Rectangle 11">
            <a:extLst>
              <a:ext uri="{FF2B5EF4-FFF2-40B4-BE49-F238E27FC236}">
                <a16:creationId xmlns:a16="http://schemas.microsoft.com/office/drawing/2014/main" id="{436A73BF-6F86-DD71-0591-E121423B7519}"/>
              </a:ext>
            </a:extLst>
          </p:cNvPr>
          <p:cNvSpPr/>
          <p:nvPr/>
        </p:nvSpPr>
        <p:spPr>
          <a:xfrm>
            <a:off x="1952701" y="4866807"/>
            <a:ext cx="1664995" cy="16131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chorCtr="0"/>
          <a:lstStyle/>
          <a:p>
            <a:r>
              <a:rPr lang="en-GB" sz="1867" dirty="0">
                <a:solidFill>
                  <a:schemeClr val="accent1"/>
                </a:solidFill>
              </a:rPr>
              <a:t>Discrimination Risk</a:t>
            </a:r>
          </a:p>
        </p:txBody>
      </p:sp>
      <p:sp>
        <p:nvSpPr>
          <p:cNvPr id="13" name="Oval 12">
            <a:extLst>
              <a:ext uri="{FF2B5EF4-FFF2-40B4-BE49-F238E27FC236}">
                <a16:creationId xmlns:a16="http://schemas.microsoft.com/office/drawing/2014/main" id="{F1565E0E-6E48-254C-80F2-B408F30CB173}"/>
              </a:ext>
            </a:extLst>
          </p:cNvPr>
          <p:cNvSpPr/>
          <p:nvPr/>
        </p:nvSpPr>
        <p:spPr>
          <a:xfrm>
            <a:off x="336001" y="3299550"/>
            <a:ext cx="1368897" cy="1368897"/>
          </a:xfrm>
          <a:prstGeom prst="ellipse">
            <a:avLst/>
          </a:prstGeom>
          <a:solidFill>
            <a:schemeClr val="bg1"/>
          </a:solidFill>
          <a:ln w="12700">
            <a:solidFill>
              <a:srgbClr val="D7D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2489">
              <a:solidFill>
                <a:prstClr val="white"/>
              </a:solidFill>
              <a:latin typeface="Arial"/>
              <a:cs typeface="Arial"/>
            </a:endParaRPr>
          </a:p>
        </p:txBody>
      </p:sp>
      <p:sp>
        <p:nvSpPr>
          <p:cNvPr id="14" name="Arc 13">
            <a:extLst>
              <a:ext uri="{FF2B5EF4-FFF2-40B4-BE49-F238E27FC236}">
                <a16:creationId xmlns:a16="http://schemas.microsoft.com/office/drawing/2014/main" id="{5FBC127D-5951-4E25-134B-02911C50013E}"/>
              </a:ext>
            </a:extLst>
          </p:cNvPr>
          <p:cNvSpPr/>
          <p:nvPr/>
        </p:nvSpPr>
        <p:spPr>
          <a:xfrm>
            <a:off x="336001" y="3299550"/>
            <a:ext cx="1368897" cy="1368897"/>
          </a:xfrm>
          <a:prstGeom prst="arc">
            <a:avLst>
              <a:gd name="adj1" fmla="val 3514014"/>
              <a:gd name="adj2" fmla="val 7312331"/>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400">
              <a:solidFill>
                <a:srgbClr val="5618B9"/>
              </a:solidFill>
              <a:latin typeface="Arial"/>
              <a:cs typeface="Arial"/>
            </a:endParaRPr>
          </a:p>
        </p:txBody>
      </p:sp>
      <p:sp>
        <p:nvSpPr>
          <p:cNvPr id="15" name="Oval 14">
            <a:extLst>
              <a:ext uri="{FF2B5EF4-FFF2-40B4-BE49-F238E27FC236}">
                <a16:creationId xmlns:a16="http://schemas.microsoft.com/office/drawing/2014/main" id="{C6773A45-05DC-7DDE-E0B6-53E124B05174}"/>
              </a:ext>
            </a:extLst>
          </p:cNvPr>
          <p:cNvSpPr/>
          <p:nvPr/>
        </p:nvSpPr>
        <p:spPr>
          <a:xfrm>
            <a:off x="336001" y="4988954"/>
            <a:ext cx="1368897" cy="1368897"/>
          </a:xfrm>
          <a:prstGeom prst="ellipse">
            <a:avLst/>
          </a:prstGeom>
          <a:solidFill>
            <a:schemeClr val="bg1"/>
          </a:solidFill>
          <a:ln w="12700">
            <a:solidFill>
              <a:srgbClr val="D7DD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2489">
              <a:solidFill>
                <a:prstClr val="white"/>
              </a:solidFill>
              <a:latin typeface="Arial"/>
              <a:cs typeface="Arial"/>
            </a:endParaRPr>
          </a:p>
        </p:txBody>
      </p:sp>
      <p:sp>
        <p:nvSpPr>
          <p:cNvPr id="16" name="Arc 15">
            <a:extLst>
              <a:ext uri="{FF2B5EF4-FFF2-40B4-BE49-F238E27FC236}">
                <a16:creationId xmlns:a16="http://schemas.microsoft.com/office/drawing/2014/main" id="{1AF4CA70-76AA-FB41-F6EE-B95CB1E93C8E}"/>
              </a:ext>
            </a:extLst>
          </p:cNvPr>
          <p:cNvSpPr/>
          <p:nvPr/>
        </p:nvSpPr>
        <p:spPr>
          <a:xfrm>
            <a:off x="336001" y="4988954"/>
            <a:ext cx="1368897" cy="1368897"/>
          </a:xfrm>
          <a:prstGeom prst="arc">
            <a:avLst>
              <a:gd name="adj1" fmla="val 3514014"/>
              <a:gd name="adj2" fmla="val 7312331"/>
            </a:avLst>
          </a:prstGeom>
          <a:ln w="38100" cap="rnd">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400">
              <a:solidFill>
                <a:srgbClr val="5618B9"/>
              </a:solidFill>
              <a:latin typeface="Arial"/>
              <a:cs typeface="Arial"/>
            </a:endParaRPr>
          </a:p>
        </p:txBody>
      </p:sp>
      <p:cxnSp>
        <p:nvCxnSpPr>
          <p:cNvPr id="20" name="Straight Connector 19">
            <a:extLst>
              <a:ext uri="{FF2B5EF4-FFF2-40B4-BE49-F238E27FC236}">
                <a16:creationId xmlns:a16="http://schemas.microsoft.com/office/drawing/2014/main" id="{19880085-F1BF-A07C-4D2D-31DED6576B7A}"/>
              </a:ext>
            </a:extLst>
          </p:cNvPr>
          <p:cNvCxnSpPr>
            <a:cxnSpLocks/>
          </p:cNvCxnSpPr>
          <p:nvPr/>
        </p:nvCxnSpPr>
        <p:spPr>
          <a:xfrm>
            <a:off x="3617701" y="1487999"/>
            <a:ext cx="0" cy="4991999"/>
          </a:xfrm>
          <a:prstGeom prst="line">
            <a:avLst/>
          </a:prstGeom>
          <a:ln w="9525">
            <a:solidFill>
              <a:schemeClr val="tx2">
                <a:alpha val="20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C2193B50-B343-D6D7-6059-B192BC7C1EFD}"/>
              </a:ext>
            </a:extLst>
          </p:cNvPr>
          <p:cNvGrpSpPr/>
          <p:nvPr/>
        </p:nvGrpSpPr>
        <p:grpSpPr>
          <a:xfrm>
            <a:off x="589922" y="2050128"/>
            <a:ext cx="861053" cy="488933"/>
            <a:chOff x="467677" y="1491945"/>
            <a:chExt cx="576456" cy="308941"/>
          </a:xfrm>
        </p:grpSpPr>
        <p:grpSp>
          <p:nvGrpSpPr>
            <p:cNvPr id="28" name="Group 27">
              <a:extLst>
                <a:ext uri="{FF2B5EF4-FFF2-40B4-BE49-F238E27FC236}">
                  <a16:creationId xmlns:a16="http://schemas.microsoft.com/office/drawing/2014/main" id="{991F2AE2-5E03-F865-EC65-20E3C1148068}"/>
                </a:ext>
              </a:extLst>
            </p:cNvPr>
            <p:cNvGrpSpPr/>
            <p:nvPr/>
          </p:nvGrpSpPr>
          <p:grpSpPr>
            <a:xfrm>
              <a:off x="615989" y="1491945"/>
              <a:ext cx="428144" cy="284626"/>
              <a:chOff x="7634575" y="3211123"/>
              <a:chExt cx="342515" cy="227985"/>
            </a:xfrm>
            <a:solidFill>
              <a:schemeClr val="accent1"/>
            </a:solidFill>
          </p:grpSpPr>
          <p:sp>
            <p:nvSpPr>
              <p:cNvPr id="34" name="Freeform: Shape 33">
                <a:extLst>
                  <a:ext uri="{FF2B5EF4-FFF2-40B4-BE49-F238E27FC236}">
                    <a16:creationId xmlns:a16="http://schemas.microsoft.com/office/drawing/2014/main" id="{24026600-05DA-2E44-B969-4049B55D3B4A}"/>
                  </a:ext>
                </a:extLst>
              </p:cNvPr>
              <p:cNvSpPr/>
              <p:nvPr/>
            </p:nvSpPr>
            <p:spPr>
              <a:xfrm>
                <a:off x="7634575" y="3235574"/>
                <a:ext cx="103775" cy="102593"/>
              </a:xfrm>
              <a:custGeom>
                <a:avLst/>
                <a:gdLst>
                  <a:gd name="connsiteX0" fmla="*/ 130254 w 129106"/>
                  <a:gd name="connsiteY0" fmla="*/ 134486 h 129106"/>
                  <a:gd name="connsiteX1" fmla="*/ 65127 w 129106"/>
                  <a:gd name="connsiteY1" fmla="*/ 134486 h 129106"/>
                  <a:gd name="connsiteX2" fmla="*/ 59748 w 129106"/>
                  <a:gd name="connsiteY2" fmla="*/ 129250 h 129106"/>
                  <a:gd name="connsiteX3" fmla="*/ 5379 w 129106"/>
                  <a:gd name="connsiteY3" fmla="*/ 75886 h 129106"/>
                  <a:gd name="connsiteX4" fmla="*/ 0 w 129106"/>
                  <a:gd name="connsiteY4" fmla="*/ 70506 h 129106"/>
                  <a:gd name="connsiteX5" fmla="*/ 0 w 129106"/>
                  <a:gd name="connsiteY5" fmla="*/ 5379 h 129106"/>
                  <a:gd name="connsiteX6" fmla="*/ 1578 w 129106"/>
                  <a:gd name="connsiteY6" fmla="*/ 1578 h 129106"/>
                  <a:gd name="connsiteX7" fmla="*/ 5379 w 129106"/>
                  <a:gd name="connsiteY7" fmla="*/ 0 h 129106"/>
                  <a:gd name="connsiteX8" fmla="*/ 5379 w 129106"/>
                  <a:gd name="connsiteY8" fmla="*/ 0 h 129106"/>
                  <a:gd name="connsiteX9" fmla="*/ 135633 w 129106"/>
                  <a:gd name="connsiteY9" fmla="*/ 129035 h 129106"/>
                  <a:gd name="connsiteX10" fmla="*/ 134055 w 129106"/>
                  <a:gd name="connsiteY10" fmla="*/ 132908 h 129106"/>
                  <a:gd name="connsiteX11" fmla="*/ 130254 w 129106"/>
                  <a:gd name="connsiteY11" fmla="*/ 134486 h 129106"/>
                  <a:gd name="connsiteX12" fmla="*/ 70220 w 129106"/>
                  <a:gd name="connsiteY12" fmla="*/ 123727 h 129106"/>
                  <a:gd name="connsiteX13" fmla="*/ 124731 w 129106"/>
                  <a:gd name="connsiteY13" fmla="*/ 123727 h 129106"/>
                  <a:gd name="connsiteX14" fmla="*/ 10831 w 129106"/>
                  <a:gd name="connsiteY14" fmla="*/ 10902 h 129106"/>
                  <a:gd name="connsiteX15" fmla="*/ 10831 w 129106"/>
                  <a:gd name="connsiteY15" fmla="*/ 65342 h 129106"/>
                  <a:gd name="connsiteX16" fmla="*/ 70220 w 129106"/>
                  <a:gd name="connsiteY16" fmla="*/ 123727 h 12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9106" h="129106">
                    <a:moveTo>
                      <a:pt x="130254" y="134486"/>
                    </a:moveTo>
                    <a:lnTo>
                      <a:pt x="65127" y="134486"/>
                    </a:lnTo>
                    <a:cubicBezTo>
                      <a:pt x="62186" y="134486"/>
                      <a:pt x="59819" y="132119"/>
                      <a:pt x="59748" y="129250"/>
                    </a:cubicBezTo>
                    <a:cubicBezTo>
                      <a:pt x="59030" y="99484"/>
                      <a:pt x="35146" y="76029"/>
                      <a:pt x="5379" y="75886"/>
                    </a:cubicBezTo>
                    <a:cubicBezTo>
                      <a:pt x="2439" y="75886"/>
                      <a:pt x="0" y="73447"/>
                      <a:pt x="0" y="70506"/>
                    </a:cubicBezTo>
                    <a:lnTo>
                      <a:pt x="0" y="5379"/>
                    </a:lnTo>
                    <a:cubicBezTo>
                      <a:pt x="0" y="3945"/>
                      <a:pt x="574" y="2582"/>
                      <a:pt x="1578" y="1578"/>
                    </a:cubicBezTo>
                    <a:cubicBezTo>
                      <a:pt x="2582" y="574"/>
                      <a:pt x="3945" y="0"/>
                      <a:pt x="5379" y="0"/>
                    </a:cubicBezTo>
                    <a:cubicBezTo>
                      <a:pt x="5379" y="0"/>
                      <a:pt x="5379" y="0"/>
                      <a:pt x="5379" y="0"/>
                    </a:cubicBezTo>
                    <a:cubicBezTo>
                      <a:pt x="76388" y="144"/>
                      <a:pt x="134773" y="58026"/>
                      <a:pt x="135633" y="129035"/>
                    </a:cubicBezTo>
                    <a:cubicBezTo>
                      <a:pt x="135633" y="130469"/>
                      <a:pt x="135060" y="131832"/>
                      <a:pt x="134055" y="132908"/>
                    </a:cubicBezTo>
                    <a:cubicBezTo>
                      <a:pt x="133123" y="133912"/>
                      <a:pt x="131688" y="134486"/>
                      <a:pt x="130254" y="134486"/>
                    </a:cubicBezTo>
                    <a:close/>
                    <a:moveTo>
                      <a:pt x="70220" y="123727"/>
                    </a:moveTo>
                    <a:lnTo>
                      <a:pt x="124731" y="123727"/>
                    </a:lnTo>
                    <a:cubicBezTo>
                      <a:pt x="121288" y="62904"/>
                      <a:pt x="71654" y="13771"/>
                      <a:pt x="10831" y="10902"/>
                    </a:cubicBezTo>
                    <a:lnTo>
                      <a:pt x="10831" y="65342"/>
                    </a:lnTo>
                    <a:cubicBezTo>
                      <a:pt x="42175" y="67996"/>
                      <a:pt x="66992" y="92383"/>
                      <a:pt x="70220" y="123727"/>
                    </a:cubicBezTo>
                    <a:close/>
                  </a:path>
                </a:pathLst>
              </a:custGeom>
              <a:grp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35" name="Freeform: Shape 34">
                <a:extLst>
                  <a:ext uri="{FF2B5EF4-FFF2-40B4-BE49-F238E27FC236}">
                    <a16:creationId xmlns:a16="http://schemas.microsoft.com/office/drawing/2014/main" id="{657F233E-17BA-FD0C-1869-5391D5BEFEE5}"/>
                  </a:ext>
                </a:extLst>
              </p:cNvPr>
              <p:cNvSpPr/>
              <p:nvPr/>
            </p:nvSpPr>
            <p:spPr>
              <a:xfrm>
                <a:off x="7936733" y="3211123"/>
                <a:ext cx="40357" cy="227985"/>
              </a:xfrm>
              <a:custGeom>
                <a:avLst/>
                <a:gdLst>
                  <a:gd name="connsiteX0" fmla="*/ 48415 w 50207"/>
                  <a:gd name="connsiteY0" fmla="*/ 290489 h 286902"/>
                  <a:gd name="connsiteX1" fmla="*/ 43035 w 50207"/>
                  <a:gd name="connsiteY1" fmla="*/ 285110 h 286902"/>
                  <a:gd name="connsiteX2" fmla="*/ 43035 w 50207"/>
                  <a:gd name="connsiteY2" fmla="*/ 13915 h 286902"/>
                  <a:gd name="connsiteX3" fmla="*/ 39879 w 50207"/>
                  <a:gd name="connsiteY3" fmla="*/ 10759 h 286902"/>
                  <a:gd name="connsiteX4" fmla="*/ 13915 w 50207"/>
                  <a:gd name="connsiteY4" fmla="*/ 10759 h 286902"/>
                  <a:gd name="connsiteX5" fmla="*/ 10759 w 50207"/>
                  <a:gd name="connsiteY5" fmla="*/ 13915 h 286902"/>
                  <a:gd name="connsiteX6" fmla="*/ 10759 w 50207"/>
                  <a:gd name="connsiteY6" fmla="*/ 285110 h 286902"/>
                  <a:gd name="connsiteX7" fmla="*/ 5379 w 50207"/>
                  <a:gd name="connsiteY7" fmla="*/ 290489 h 286902"/>
                  <a:gd name="connsiteX8" fmla="*/ 0 w 50207"/>
                  <a:gd name="connsiteY8" fmla="*/ 285110 h 286902"/>
                  <a:gd name="connsiteX9" fmla="*/ 0 w 50207"/>
                  <a:gd name="connsiteY9" fmla="*/ 13915 h 286902"/>
                  <a:gd name="connsiteX10" fmla="*/ 13915 w 50207"/>
                  <a:gd name="connsiteY10" fmla="*/ 0 h 286902"/>
                  <a:gd name="connsiteX11" fmla="*/ 39879 w 50207"/>
                  <a:gd name="connsiteY11" fmla="*/ 0 h 286902"/>
                  <a:gd name="connsiteX12" fmla="*/ 53794 w 50207"/>
                  <a:gd name="connsiteY12" fmla="*/ 13915 h 286902"/>
                  <a:gd name="connsiteX13" fmla="*/ 53794 w 50207"/>
                  <a:gd name="connsiteY13" fmla="*/ 285110 h 286902"/>
                  <a:gd name="connsiteX14" fmla="*/ 48415 w 50207"/>
                  <a:gd name="connsiteY14" fmla="*/ 290489 h 28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07" h="286902">
                    <a:moveTo>
                      <a:pt x="48415" y="290489"/>
                    </a:moveTo>
                    <a:cubicBezTo>
                      <a:pt x="45474" y="290489"/>
                      <a:pt x="43035" y="288050"/>
                      <a:pt x="43035" y="285110"/>
                    </a:cubicBezTo>
                    <a:lnTo>
                      <a:pt x="43035" y="13915"/>
                    </a:lnTo>
                    <a:cubicBezTo>
                      <a:pt x="43035" y="12193"/>
                      <a:pt x="41601" y="10759"/>
                      <a:pt x="39879" y="10759"/>
                    </a:cubicBezTo>
                    <a:lnTo>
                      <a:pt x="13915" y="10759"/>
                    </a:lnTo>
                    <a:cubicBezTo>
                      <a:pt x="12193" y="10759"/>
                      <a:pt x="10759" y="12193"/>
                      <a:pt x="10759" y="13915"/>
                    </a:cubicBezTo>
                    <a:lnTo>
                      <a:pt x="10759" y="285110"/>
                    </a:lnTo>
                    <a:cubicBezTo>
                      <a:pt x="10759" y="288050"/>
                      <a:pt x="8320" y="290489"/>
                      <a:pt x="5379" y="290489"/>
                    </a:cubicBezTo>
                    <a:cubicBezTo>
                      <a:pt x="2439" y="290489"/>
                      <a:pt x="0" y="288050"/>
                      <a:pt x="0" y="285110"/>
                    </a:cubicBezTo>
                    <a:lnTo>
                      <a:pt x="0" y="13915"/>
                    </a:lnTo>
                    <a:cubicBezTo>
                      <a:pt x="0" y="6240"/>
                      <a:pt x="6240" y="0"/>
                      <a:pt x="13915" y="0"/>
                    </a:cubicBezTo>
                    <a:lnTo>
                      <a:pt x="39879" y="0"/>
                    </a:lnTo>
                    <a:cubicBezTo>
                      <a:pt x="47554" y="0"/>
                      <a:pt x="53794" y="6240"/>
                      <a:pt x="53794" y="13915"/>
                    </a:cubicBezTo>
                    <a:lnTo>
                      <a:pt x="53794" y="285110"/>
                    </a:lnTo>
                    <a:cubicBezTo>
                      <a:pt x="53794" y="288122"/>
                      <a:pt x="51427" y="290489"/>
                      <a:pt x="48415" y="290489"/>
                    </a:cubicBezTo>
                    <a:close/>
                  </a:path>
                </a:pathLst>
              </a:custGeom>
              <a:grp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nvGrpSpPr>
            <p:cNvPr id="29" name="Group 28">
              <a:extLst>
                <a:ext uri="{FF2B5EF4-FFF2-40B4-BE49-F238E27FC236}">
                  <a16:creationId xmlns:a16="http://schemas.microsoft.com/office/drawing/2014/main" id="{3A538260-B49B-EFC6-B787-52A2A3AC3B74}"/>
                </a:ext>
              </a:extLst>
            </p:cNvPr>
            <p:cNvGrpSpPr/>
            <p:nvPr/>
          </p:nvGrpSpPr>
          <p:grpSpPr>
            <a:xfrm>
              <a:off x="467677" y="1544723"/>
              <a:ext cx="576456" cy="256163"/>
              <a:chOff x="467677" y="1544723"/>
              <a:chExt cx="576456" cy="256163"/>
            </a:xfrm>
          </p:grpSpPr>
          <p:sp>
            <p:nvSpPr>
              <p:cNvPr id="30" name="Freeform: Shape 29">
                <a:extLst>
                  <a:ext uri="{FF2B5EF4-FFF2-40B4-BE49-F238E27FC236}">
                    <a16:creationId xmlns:a16="http://schemas.microsoft.com/office/drawing/2014/main" id="{9240DBA5-67EF-AB82-3BA9-B3D1B341D2D5}"/>
                  </a:ext>
                </a:extLst>
              </p:cNvPr>
              <p:cNvSpPr/>
              <p:nvPr/>
            </p:nvSpPr>
            <p:spPr>
              <a:xfrm>
                <a:off x="467677" y="1544723"/>
                <a:ext cx="259437" cy="256163"/>
              </a:xfrm>
              <a:custGeom>
                <a:avLst/>
                <a:gdLst>
                  <a:gd name="connsiteX0" fmla="*/ 130541 w 258212"/>
                  <a:gd name="connsiteY0" fmla="*/ 260958 h 258212"/>
                  <a:gd name="connsiteX1" fmla="*/ 0 w 258212"/>
                  <a:gd name="connsiteY1" fmla="*/ 130417 h 258212"/>
                  <a:gd name="connsiteX2" fmla="*/ 125592 w 258212"/>
                  <a:gd name="connsiteY2" fmla="*/ 20 h 258212"/>
                  <a:gd name="connsiteX3" fmla="*/ 129537 w 258212"/>
                  <a:gd name="connsiteY3" fmla="*/ 1526 h 258212"/>
                  <a:gd name="connsiteX4" fmla="*/ 131186 w 258212"/>
                  <a:gd name="connsiteY4" fmla="*/ 5399 h 258212"/>
                  <a:gd name="connsiteX5" fmla="*/ 131186 w 258212"/>
                  <a:gd name="connsiteY5" fmla="*/ 70598 h 258212"/>
                  <a:gd name="connsiteX6" fmla="*/ 126237 w 258212"/>
                  <a:gd name="connsiteY6" fmla="*/ 75977 h 258212"/>
                  <a:gd name="connsiteX7" fmla="*/ 75814 w 258212"/>
                  <a:gd name="connsiteY7" fmla="*/ 130489 h 258212"/>
                  <a:gd name="connsiteX8" fmla="*/ 130541 w 258212"/>
                  <a:gd name="connsiteY8" fmla="*/ 185216 h 258212"/>
                  <a:gd name="connsiteX9" fmla="*/ 185052 w 258212"/>
                  <a:gd name="connsiteY9" fmla="*/ 133717 h 258212"/>
                  <a:gd name="connsiteX10" fmla="*/ 190432 w 258212"/>
                  <a:gd name="connsiteY10" fmla="*/ 128624 h 258212"/>
                  <a:gd name="connsiteX11" fmla="*/ 255630 w 258212"/>
                  <a:gd name="connsiteY11" fmla="*/ 128624 h 258212"/>
                  <a:gd name="connsiteX12" fmla="*/ 259504 w 258212"/>
                  <a:gd name="connsiteY12" fmla="*/ 130274 h 258212"/>
                  <a:gd name="connsiteX13" fmla="*/ 261010 w 258212"/>
                  <a:gd name="connsiteY13" fmla="*/ 134147 h 258212"/>
                  <a:gd name="connsiteX14" fmla="*/ 130541 w 258212"/>
                  <a:gd name="connsiteY14" fmla="*/ 260958 h 258212"/>
                  <a:gd name="connsiteX15" fmla="*/ 120427 w 258212"/>
                  <a:gd name="connsiteY15" fmla="*/ 10994 h 258212"/>
                  <a:gd name="connsiteX16" fmla="*/ 10759 w 258212"/>
                  <a:gd name="connsiteY16" fmla="*/ 130346 h 258212"/>
                  <a:gd name="connsiteX17" fmla="*/ 130541 w 258212"/>
                  <a:gd name="connsiteY17" fmla="*/ 250127 h 258212"/>
                  <a:gd name="connsiteX18" fmla="*/ 249964 w 258212"/>
                  <a:gd name="connsiteY18" fmla="*/ 139239 h 258212"/>
                  <a:gd name="connsiteX19" fmla="*/ 195309 w 258212"/>
                  <a:gd name="connsiteY19" fmla="*/ 139239 h 258212"/>
                  <a:gd name="connsiteX20" fmla="*/ 130541 w 258212"/>
                  <a:gd name="connsiteY20" fmla="*/ 195759 h 258212"/>
                  <a:gd name="connsiteX21" fmla="*/ 65055 w 258212"/>
                  <a:gd name="connsiteY21" fmla="*/ 130274 h 258212"/>
                  <a:gd name="connsiteX22" fmla="*/ 120427 w 258212"/>
                  <a:gd name="connsiteY22" fmla="*/ 65649 h 258212"/>
                  <a:gd name="connsiteX23" fmla="*/ 120427 w 258212"/>
                  <a:gd name="connsiteY23" fmla="*/ 10994 h 25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212" h="258212">
                    <a:moveTo>
                      <a:pt x="130541" y="260958"/>
                    </a:moveTo>
                    <a:cubicBezTo>
                      <a:pt x="58528" y="260958"/>
                      <a:pt x="0" y="202358"/>
                      <a:pt x="0" y="130417"/>
                    </a:cubicBezTo>
                    <a:cubicBezTo>
                      <a:pt x="0" y="59911"/>
                      <a:pt x="55157" y="2602"/>
                      <a:pt x="125592" y="20"/>
                    </a:cubicBezTo>
                    <a:cubicBezTo>
                      <a:pt x="127026" y="-123"/>
                      <a:pt x="128461" y="522"/>
                      <a:pt x="129537" y="1526"/>
                    </a:cubicBezTo>
                    <a:cubicBezTo>
                      <a:pt x="130612" y="2530"/>
                      <a:pt x="131186" y="3965"/>
                      <a:pt x="131186" y="5399"/>
                    </a:cubicBezTo>
                    <a:lnTo>
                      <a:pt x="131186" y="70598"/>
                    </a:lnTo>
                    <a:cubicBezTo>
                      <a:pt x="131186" y="73395"/>
                      <a:pt x="129034" y="75762"/>
                      <a:pt x="126237" y="75977"/>
                    </a:cubicBezTo>
                    <a:cubicBezTo>
                      <a:pt x="97977" y="78201"/>
                      <a:pt x="75814" y="102086"/>
                      <a:pt x="75814" y="130489"/>
                    </a:cubicBezTo>
                    <a:cubicBezTo>
                      <a:pt x="75814" y="160685"/>
                      <a:pt x="100344" y="185216"/>
                      <a:pt x="130541" y="185216"/>
                    </a:cubicBezTo>
                    <a:cubicBezTo>
                      <a:pt x="159446" y="185216"/>
                      <a:pt x="183403" y="162622"/>
                      <a:pt x="185052" y="133717"/>
                    </a:cubicBezTo>
                    <a:cubicBezTo>
                      <a:pt x="185196" y="130848"/>
                      <a:pt x="187563" y="128624"/>
                      <a:pt x="190432" y="128624"/>
                    </a:cubicBezTo>
                    <a:lnTo>
                      <a:pt x="255630" y="128624"/>
                    </a:lnTo>
                    <a:cubicBezTo>
                      <a:pt x="257065" y="128624"/>
                      <a:pt x="258499" y="129198"/>
                      <a:pt x="259504" y="130274"/>
                    </a:cubicBezTo>
                    <a:cubicBezTo>
                      <a:pt x="260508" y="131278"/>
                      <a:pt x="261081" y="132712"/>
                      <a:pt x="261010" y="134147"/>
                    </a:cubicBezTo>
                    <a:cubicBezTo>
                      <a:pt x="259073" y="205227"/>
                      <a:pt x="201764" y="260958"/>
                      <a:pt x="130541" y="260958"/>
                    </a:cubicBezTo>
                    <a:close/>
                    <a:moveTo>
                      <a:pt x="120427" y="10994"/>
                    </a:moveTo>
                    <a:cubicBezTo>
                      <a:pt x="58456" y="16158"/>
                      <a:pt x="10759" y="67514"/>
                      <a:pt x="10759" y="130346"/>
                    </a:cubicBezTo>
                    <a:cubicBezTo>
                      <a:pt x="10759" y="196405"/>
                      <a:pt x="64481" y="250127"/>
                      <a:pt x="130541" y="250127"/>
                    </a:cubicBezTo>
                    <a:cubicBezTo>
                      <a:pt x="194018" y="250127"/>
                      <a:pt x="245445" y="201856"/>
                      <a:pt x="249964" y="139239"/>
                    </a:cubicBezTo>
                    <a:lnTo>
                      <a:pt x="195309" y="139239"/>
                    </a:lnTo>
                    <a:cubicBezTo>
                      <a:pt x="190934" y="171301"/>
                      <a:pt x="163391" y="195759"/>
                      <a:pt x="130541" y="195759"/>
                    </a:cubicBezTo>
                    <a:cubicBezTo>
                      <a:pt x="94463" y="195759"/>
                      <a:pt x="65055" y="166424"/>
                      <a:pt x="65055" y="130274"/>
                    </a:cubicBezTo>
                    <a:cubicBezTo>
                      <a:pt x="65055" y="97997"/>
                      <a:pt x="89012" y="70526"/>
                      <a:pt x="120427" y="65649"/>
                    </a:cubicBezTo>
                    <a:lnTo>
                      <a:pt x="120427" y="10994"/>
                    </a:lnTo>
                    <a:close/>
                  </a:path>
                </a:pathLst>
              </a:custGeom>
              <a:solidFill>
                <a:schemeClr val="tx2"/>
              </a:solid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31" name="Freeform: Shape 30">
                <a:extLst>
                  <a:ext uri="{FF2B5EF4-FFF2-40B4-BE49-F238E27FC236}">
                    <a16:creationId xmlns:a16="http://schemas.microsoft.com/office/drawing/2014/main" id="{D44FFEF1-5E37-F2BE-9BD4-4DDE3C7A230F}"/>
                  </a:ext>
                </a:extLst>
              </p:cNvPr>
              <p:cNvSpPr/>
              <p:nvPr/>
            </p:nvSpPr>
            <p:spPr>
              <a:xfrm>
                <a:off x="683803" y="1790802"/>
                <a:ext cx="360330" cy="7116"/>
              </a:xfrm>
              <a:custGeom>
                <a:avLst/>
                <a:gdLst>
                  <a:gd name="connsiteX0" fmla="*/ 356835 w 358628"/>
                  <a:gd name="connsiteY0" fmla="*/ 10759 h 7172"/>
                  <a:gd name="connsiteX1" fmla="*/ 5379 w 358628"/>
                  <a:gd name="connsiteY1" fmla="*/ 10759 h 7172"/>
                  <a:gd name="connsiteX2" fmla="*/ 0 w 358628"/>
                  <a:gd name="connsiteY2" fmla="*/ 5379 h 7172"/>
                  <a:gd name="connsiteX3" fmla="*/ 5379 w 358628"/>
                  <a:gd name="connsiteY3" fmla="*/ 0 h 7172"/>
                  <a:gd name="connsiteX4" fmla="*/ 356835 w 358628"/>
                  <a:gd name="connsiteY4" fmla="*/ 0 h 7172"/>
                  <a:gd name="connsiteX5" fmla="*/ 362215 w 358628"/>
                  <a:gd name="connsiteY5" fmla="*/ 5379 h 7172"/>
                  <a:gd name="connsiteX6" fmla="*/ 356835 w 358628"/>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628" h="7172">
                    <a:moveTo>
                      <a:pt x="356835" y="10759"/>
                    </a:moveTo>
                    <a:lnTo>
                      <a:pt x="5379" y="10759"/>
                    </a:lnTo>
                    <a:cubicBezTo>
                      <a:pt x="2439" y="10759"/>
                      <a:pt x="0" y="8320"/>
                      <a:pt x="0" y="5379"/>
                    </a:cubicBezTo>
                    <a:cubicBezTo>
                      <a:pt x="0" y="2439"/>
                      <a:pt x="2439" y="0"/>
                      <a:pt x="5379" y="0"/>
                    </a:cubicBezTo>
                    <a:lnTo>
                      <a:pt x="356835" y="0"/>
                    </a:lnTo>
                    <a:cubicBezTo>
                      <a:pt x="359776" y="0"/>
                      <a:pt x="362215" y="2439"/>
                      <a:pt x="362215" y="5379"/>
                    </a:cubicBezTo>
                    <a:cubicBezTo>
                      <a:pt x="362215" y="8392"/>
                      <a:pt x="359848" y="10759"/>
                      <a:pt x="356835" y="10759"/>
                    </a:cubicBezTo>
                    <a:close/>
                  </a:path>
                </a:pathLst>
              </a:custGeom>
              <a:solidFill>
                <a:schemeClr val="tx2"/>
              </a:solid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32" name="Freeform: Shape 31">
                <a:extLst>
                  <a:ext uri="{FF2B5EF4-FFF2-40B4-BE49-F238E27FC236}">
                    <a16:creationId xmlns:a16="http://schemas.microsoft.com/office/drawing/2014/main" id="{3A5A6851-53AB-3D08-1181-609E5D42ACB2}"/>
                  </a:ext>
                </a:extLst>
              </p:cNvPr>
              <p:cNvSpPr/>
              <p:nvPr/>
            </p:nvSpPr>
            <p:spPr>
              <a:xfrm>
                <a:off x="892794" y="1644576"/>
                <a:ext cx="50446" cy="135198"/>
              </a:xfrm>
              <a:custGeom>
                <a:avLst/>
                <a:gdLst>
                  <a:gd name="connsiteX0" fmla="*/ 48415 w 50207"/>
                  <a:gd name="connsiteY0" fmla="*/ 136638 h 136278"/>
                  <a:gd name="connsiteX1" fmla="*/ 43035 w 50207"/>
                  <a:gd name="connsiteY1" fmla="*/ 131258 h 136278"/>
                  <a:gd name="connsiteX2" fmla="*/ 43035 w 50207"/>
                  <a:gd name="connsiteY2" fmla="*/ 13915 h 136278"/>
                  <a:gd name="connsiteX3" fmla="*/ 39879 w 50207"/>
                  <a:gd name="connsiteY3" fmla="*/ 10759 h 136278"/>
                  <a:gd name="connsiteX4" fmla="*/ 13915 w 50207"/>
                  <a:gd name="connsiteY4" fmla="*/ 10759 h 136278"/>
                  <a:gd name="connsiteX5" fmla="*/ 10759 w 50207"/>
                  <a:gd name="connsiteY5" fmla="*/ 13915 h 136278"/>
                  <a:gd name="connsiteX6" fmla="*/ 10759 w 50207"/>
                  <a:gd name="connsiteY6" fmla="*/ 131258 h 136278"/>
                  <a:gd name="connsiteX7" fmla="*/ 5379 w 50207"/>
                  <a:gd name="connsiteY7" fmla="*/ 136638 h 136278"/>
                  <a:gd name="connsiteX8" fmla="*/ 0 w 50207"/>
                  <a:gd name="connsiteY8" fmla="*/ 131258 h 136278"/>
                  <a:gd name="connsiteX9" fmla="*/ 0 w 50207"/>
                  <a:gd name="connsiteY9" fmla="*/ 13915 h 136278"/>
                  <a:gd name="connsiteX10" fmla="*/ 13915 w 50207"/>
                  <a:gd name="connsiteY10" fmla="*/ 0 h 136278"/>
                  <a:gd name="connsiteX11" fmla="*/ 39879 w 50207"/>
                  <a:gd name="connsiteY11" fmla="*/ 0 h 136278"/>
                  <a:gd name="connsiteX12" fmla="*/ 53794 w 50207"/>
                  <a:gd name="connsiteY12" fmla="*/ 13915 h 136278"/>
                  <a:gd name="connsiteX13" fmla="*/ 53794 w 50207"/>
                  <a:gd name="connsiteY13" fmla="*/ 131258 h 136278"/>
                  <a:gd name="connsiteX14" fmla="*/ 48415 w 50207"/>
                  <a:gd name="connsiteY14" fmla="*/ 136638 h 13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07" h="136278">
                    <a:moveTo>
                      <a:pt x="48415" y="136638"/>
                    </a:moveTo>
                    <a:cubicBezTo>
                      <a:pt x="45474" y="136638"/>
                      <a:pt x="43035" y="134199"/>
                      <a:pt x="43035" y="131258"/>
                    </a:cubicBezTo>
                    <a:lnTo>
                      <a:pt x="43035" y="13915"/>
                    </a:lnTo>
                    <a:cubicBezTo>
                      <a:pt x="43035" y="12193"/>
                      <a:pt x="41601" y="10759"/>
                      <a:pt x="39879" y="10759"/>
                    </a:cubicBezTo>
                    <a:lnTo>
                      <a:pt x="13915" y="10759"/>
                    </a:lnTo>
                    <a:cubicBezTo>
                      <a:pt x="12193" y="10759"/>
                      <a:pt x="10759" y="12193"/>
                      <a:pt x="10759" y="13915"/>
                    </a:cubicBezTo>
                    <a:lnTo>
                      <a:pt x="10759" y="131258"/>
                    </a:lnTo>
                    <a:cubicBezTo>
                      <a:pt x="10759" y="134199"/>
                      <a:pt x="8320" y="136638"/>
                      <a:pt x="5379" y="136638"/>
                    </a:cubicBezTo>
                    <a:cubicBezTo>
                      <a:pt x="2439" y="136638"/>
                      <a:pt x="0" y="134199"/>
                      <a:pt x="0" y="131258"/>
                    </a:cubicBezTo>
                    <a:lnTo>
                      <a:pt x="0" y="13915"/>
                    </a:lnTo>
                    <a:cubicBezTo>
                      <a:pt x="0" y="6240"/>
                      <a:pt x="6240" y="0"/>
                      <a:pt x="13915" y="0"/>
                    </a:cubicBezTo>
                    <a:lnTo>
                      <a:pt x="39879" y="0"/>
                    </a:lnTo>
                    <a:cubicBezTo>
                      <a:pt x="47554" y="0"/>
                      <a:pt x="53794" y="6240"/>
                      <a:pt x="53794" y="13915"/>
                    </a:cubicBezTo>
                    <a:lnTo>
                      <a:pt x="53794" y="131258"/>
                    </a:lnTo>
                    <a:cubicBezTo>
                      <a:pt x="53794" y="134271"/>
                      <a:pt x="51427" y="136638"/>
                      <a:pt x="48415" y="136638"/>
                    </a:cubicBezTo>
                    <a:close/>
                  </a:path>
                </a:pathLst>
              </a:custGeom>
              <a:solidFill>
                <a:schemeClr val="tx2"/>
              </a:solid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33" name="Freeform: Shape 32">
                <a:extLst>
                  <a:ext uri="{FF2B5EF4-FFF2-40B4-BE49-F238E27FC236}">
                    <a16:creationId xmlns:a16="http://schemas.microsoft.com/office/drawing/2014/main" id="{434529C9-A655-633D-8589-9212254E31F6}"/>
                  </a:ext>
                </a:extLst>
              </p:cNvPr>
              <p:cNvSpPr/>
              <p:nvPr/>
            </p:nvSpPr>
            <p:spPr>
              <a:xfrm>
                <a:off x="791902" y="1609923"/>
                <a:ext cx="50446" cy="163660"/>
              </a:xfrm>
              <a:custGeom>
                <a:avLst/>
                <a:gdLst>
                  <a:gd name="connsiteX0" fmla="*/ 48415 w 50207"/>
                  <a:gd name="connsiteY0" fmla="*/ 171568 h 164969"/>
                  <a:gd name="connsiteX1" fmla="*/ 43035 w 50207"/>
                  <a:gd name="connsiteY1" fmla="*/ 166189 h 164969"/>
                  <a:gd name="connsiteX2" fmla="*/ 43035 w 50207"/>
                  <a:gd name="connsiteY2" fmla="*/ 13915 h 164969"/>
                  <a:gd name="connsiteX3" fmla="*/ 39879 w 50207"/>
                  <a:gd name="connsiteY3" fmla="*/ 10759 h 164969"/>
                  <a:gd name="connsiteX4" fmla="*/ 13915 w 50207"/>
                  <a:gd name="connsiteY4" fmla="*/ 10759 h 164969"/>
                  <a:gd name="connsiteX5" fmla="*/ 10759 w 50207"/>
                  <a:gd name="connsiteY5" fmla="*/ 13915 h 164969"/>
                  <a:gd name="connsiteX6" fmla="*/ 10759 w 50207"/>
                  <a:gd name="connsiteY6" fmla="*/ 166189 h 164969"/>
                  <a:gd name="connsiteX7" fmla="*/ 5379 w 50207"/>
                  <a:gd name="connsiteY7" fmla="*/ 171568 h 164969"/>
                  <a:gd name="connsiteX8" fmla="*/ 0 w 50207"/>
                  <a:gd name="connsiteY8" fmla="*/ 166189 h 164969"/>
                  <a:gd name="connsiteX9" fmla="*/ 0 w 50207"/>
                  <a:gd name="connsiteY9" fmla="*/ 13915 h 164969"/>
                  <a:gd name="connsiteX10" fmla="*/ 13915 w 50207"/>
                  <a:gd name="connsiteY10" fmla="*/ 0 h 164969"/>
                  <a:gd name="connsiteX11" fmla="*/ 39879 w 50207"/>
                  <a:gd name="connsiteY11" fmla="*/ 0 h 164969"/>
                  <a:gd name="connsiteX12" fmla="*/ 53794 w 50207"/>
                  <a:gd name="connsiteY12" fmla="*/ 13915 h 164969"/>
                  <a:gd name="connsiteX13" fmla="*/ 53794 w 50207"/>
                  <a:gd name="connsiteY13" fmla="*/ 166189 h 164969"/>
                  <a:gd name="connsiteX14" fmla="*/ 48415 w 50207"/>
                  <a:gd name="connsiteY14" fmla="*/ 171568 h 164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07" h="164969">
                    <a:moveTo>
                      <a:pt x="48415" y="171568"/>
                    </a:moveTo>
                    <a:cubicBezTo>
                      <a:pt x="45474" y="171568"/>
                      <a:pt x="43035" y="169129"/>
                      <a:pt x="43035" y="166189"/>
                    </a:cubicBezTo>
                    <a:lnTo>
                      <a:pt x="43035" y="13915"/>
                    </a:lnTo>
                    <a:cubicBezTo>
                      <a:pt x="43035" y="12193"/>
                      <a:pt x="41601" y="10759"/>
                      <a:pt x="39879" y="10759"/>
                    </a:cubicBezTo>
                    <a:lnTo>
                      <a:pt x="13915" y="10759"/>
                    </a:lnTo>
                    <a:cubicBezTo>
                      <a:pt x="12193" y="10759"/>
                      <a:pt x="10759" y="12193"/>
                      <a:pt x="10759" y="13915"/>
                    </a:cubicBezTo>
                    <a:lnTo>
                      <a:pt x="10759" y="166189"/>
                    </a:lnTo>
                    <a:cubicBezTo>
                      <a:pt x="10759" y="169129"/>
                      <a:pt x="8320" y="171568"/>
                      <a:pt x="5379" y="171568"/>
                    </a:cubicBezTo>
                    <a:cubicBezTo>
                      <a:pt x="2439" y="171568"/>
                      <a:pt x="0" y="169129"/>
                      <a:pt x="0" y="166189"/>
                    </a:cubicBezTo>
                    <a:lnTo>
                      <a:pt x="0" y="13915"/>
                    </a:lnTo>
                    <a:cubicBezTo>
                      <a:pt x="0" y="6240"/>
                      <a:pt x="6240" y="0"/>
                      <a:pt x="13915" y="0"/>
                    </a:cubicBezTo>
                    <a:lnTo>
                      <a:pt x="39879" y="0"/>
                    </a:lnTo>
                    <a:cubicBezTo>
                      <a:pt x="47554" y="0"/>
                      <a:pt x="53794" y="6240"/>
                      <a:pt x="53794" y="13915"/>
                    </a:cubicBezTo>
                    <a:lnTo>
                      <a:pt x="53794" y="166189"/>
                    </a:lnTo>
                    <a:cubicBezTo>
                      <a:pt x="53794" y="169201"/>
                      <a:pt x="51427" y="171568"/>
                      <a:pt x="48415" y="171568"/>
                    </a:cubicBezTo>
                    <a:close/>
                  </a:path>
                </a:pathLst>
              </a:custGeom>
              <a:solidFill>
                <a:schemeClr val="tx2"/>
              </a:solidFill>
              <a:ln w="7168"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grpSp>
        <p:nvGrpSpPr>
          <p:cNvPr id="36" name="Group 35">
            <a:extLst>
              <a:ext uri="{FF2B5EF4-FFF2-40B4-BE49-F238E27FC236}">
                <a16:creationId xmlns:a16="http://schemas.microsoft.com/office/drawing/2014/main" id="{40FC5121-653B-3910-F7BD-7BBAB1A43A1F}"/>
              </a:ext>
            </a:extLst>
          </p:cNvPr>
          <p:cNvGrpSpPr/>
          <p:nvPr/>
        </p:nvGrpSpPr>
        <p:grpSpPr>
          <a:xfrm>
            <a:off x="664070" y="3620129"/>
            <a:ext cx="712757" cy="727736"/>
            <a:chOff x="495170" y="2776900"/>
            <a:chExt cx="534568" cy="545802"/>
          </a:xfrm>
        </p:grpSpPr>
        <p:grpSp>
          <p:nvGrpSpPr>
            <p:cNvPr id="37" name="Group 36">
              <a:extLst>
                <a:ext uri="{FF2B5EF4-FFF2-40B4-BE49-F238E27FC236}">
                  <a16:creationId xmlns:a16="http://schemas.microsoft.com/office/drawing/2014/main" id="{F2DC13C2-E992-4B12-7FE8-41D69EF19C0C}"/>
                </a:ext>
              </a:extLst>
            </p:cNvPr>
            <p:cNvGrpSpPr/>
            <p:nvPr/>
          </p:nvGrpSpPr>
          <p:grpSpPr>
            <a:xfrm>
              <a:off x="654797" y="2776900"/>
              <a:ext cx="222738" cy="279998"/>
              <a:chOff x="2110068" y="1220295"/>
              <a:chExt cx="180783" cy="224609"/>
            </a:xfrm>
            <a:solidFill>
              <a:schemeClr val="accent1"/>
            </a:solidFill>
          </p:grpSpPr>
          <p:sp>
            <p:nvSpPr>
              <p:cNvPr id="45" name="Freeform: Shape 44">
                <a:extLst>
                  <a:ext uri="{FF2B5EF4-FFF2-40B4-BE49-F238E27FC236}">
                    <a16:creationId xmlns:a16="http://schemas.microsoft.com/office/drawing/2014/main" id="{7B9BC35F-4E49-9F09-F52F-0852AE873419}"/>
                  </a:ext>
                </a:extLst>
              </p:cNvPr>
              <p:cNvSpPr/>
              <p:nvPr/>
            </p:nvSpPr>
            <p:spPr>
              <a:xfrm>
                <a:off x="2137596" y="1275078"/>
                <a:ext cx="120521" cy="136957"/>
              </a:xfrm>
              <a:custGeom>
                <a:avLst/>
                <a:gdLst>
                  <a:gd name="connsiteX0" fmla="*/ 113674 w 150652"/>
                  <a:gd name="connsiteY0" fmla="*/ 175989 h 171195"/>
                  <a:gd name="connsiteX1" fmla="*/ 43826 w 150652"/>
                  <a:gd name="connsiteY1" fmla="*/ 175989 h 171195"/>
                  <a:gd name="connsiteX2" fmla="*/ 38348 w 150652"/>
                  <a:gd name="connsiteY2" fmla="*/ 170511 h 171195"/>
                  <a:gd name="connsiteX3" fmla="*/ 38348 w 150652"/>
                  <a:gd name="connsiteY3" fmla="*/ 145859 h 171195"/>
                  <a:gd name="connsiteX4" fmla="*/ 32870 w 150652"/>
                  <a:gd name="connsiteY4" fmla="*/ 141750 h 171195"/>
                  <a:gd name="connsiteX5" fmla="*/ 0 w 150652"/>
                  <a:gd name="connsiteY5" fmla="*/ 78065 h 171195"/>
                  <a:gd name="connsiteX6" fmla="*/ 78065 w 150652"/>
                  <a:gd name="connsiteY6" fmla="*/ 0 h 171195"/>
                  <a:gd name="connsiteX7" fmla="*/ 156131 w 150652"/>
                  <a:gd name="connsiteY7" fmla="*/ 78065 h 171195"/>
                  <a:gd name="connsiteX8" fmla="*/ 122576 w 150652"/>
                  <a:gd name="connsiteY8" fmla="*/ 142435 h 171195"/>
                  <a:gd name="connsiteX9" fmla="*/ 117783 w 150652"/>
                  <a:gd name="connsiteY9" fmla="*/ 151337 h 171195"/>
                  <a:gd name="connsiteX10" fmla="*/ 117783 w 150652"/>
                  <a:gd name="connsiteY10" fmla="*/ 170511 h 171195"/>
                  <a:gd name="connsiteX11" fmla="*/ 113674 w 150652"/>
                  <a:gd name="connsiteY11" fmla="*/ 175989 h 171195"/>
                  <a:gd name="connsiteX12" fmla="*/ 49304 w 150652"/>
                  <a:gd name="connsiteY12" fmla="*/ 165717 h 171195"/>
                  <a:gd name="connsiteX13" fmla="*/ 108880 w 150652"/>
                  <a:gd name="connsiteY13" fmla="*/ 165717 h 171195"/>
                  <a:gd name="connsiteX14" fmla="*/ 108880 w 150652"/>
                  <a:gd name="connsiteY14" fmla="*/ 152022 h 171195"/>
                  <a:gd name="connsiteX15" fmla="*/ 118468 w 150652"/>
                  <a:gd name="connsiteY15" fmla="*/ 133533 h 171195"/>
                  <a:gd name="connsiteX16" fmla="*/ 147228 w 150652"/>
                  <a:gd name="connsiteY16" fmla="*/ 78065 h 171195"/>
                  <a:gd name="connsiteX17" fmla="*/ 79435 w 150652"/>
                  <a:gd name="connsiteY17" fmla="*/ 10272 h 171195"/>
                  <a:gd name="connsiteX18" fmla="*/ 11641 w 150652"/>
                  <a:gd name="connsiteY18" fmla="*/ 78065 h 171195"/>
                  <a:gd name="connsiteX19" fmla="*/ 40402 w 150652"/>
                  <a:gd name="connsiteY19" fmla="*/ 133533 h 171195"/>
                  <a:gd name="connsiteX20" fmla="*/ 49989 w 150652"/>
                  <a:gd name="connsiteY20" fmla="*/ 143120 h 171195"/>
                  <a:gd name="connsiteX21" fmla="*/ 50674 w 150652"/>
                  <a:gd name="connsiteY21" fmla="*/ 145174 h 171195"/>
                  <a:gd name="connsiteX22" fmla="*/ 50674 w 150652"/>
                  <a:gd name="connsiteY22" fmla="*/ 165717 h 17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652" h="171195">
                    <a:moveTo>
                      <a:pt x="113674" y="175989"/>
                    </a:moveTo>
                    <a:lnTo>
                      <a:pt x="43826" y="175989"/>
                    </a:lnTo>
                    <a:cubicBezTo>
                      <a:pt x="41087" y="175989"/>
                      <a:pt x="38348" y="173935"/>
                      <a:pt x="38348" y="170511"/>
                    </a:cubicBezTo>
                    <a:lnTo>
                      <a:pt x="38348" y="145859"/>
                    </a:lnTo>
                    <a:cubicBezTo>
                      <a:pt x="37663" y="145174"/>
                      <a:pt x="36294" y="143804"/>
                      <a:pt x="32870" y="141750"/>
                    </a:cubicBezTo>
                    <a:cubicBezTo>
                      <a:pt x="12326" y="127370"/>
                      <a:pt x="0" y="103402"/>
                      <a:pt x="0" y="78065"/>
                    </a:cubicBezTo>
                    <a:cubicBezTo>
                      <a:pt x="0" y="34924"/>
                      <a:pt x="34924" y="0"/>
                      <a:pt x="78065" y="0"/>
                    </a:cubicBezTo>
                    <a:cubicBezTo>
                      <a:pt x="121207" y="0"/>
                      <a:pt x="156131" y="34924"/>
                      <a:pt x="156131" y="78065"/>
                    </a:cubicBezTo>
                    <a:cubicBezTo>
                      <a:pt x="156131" y="104772"/>
                      <a:pt x="143120" y="129424"/>
                      <a:pt x="122576" y="142435"/>
                    </a:cubicBezTo>
                    <a:cubicBezTo>
                      <a:pt x="117783" y="145859"/>
                      <a:pt x="117783" y="151337"/>
                      <a:pt x="117783" y="151337"/>
                    </a:cubicBezTo>
                    <a:lnTo>
                      <a:pt x="117783" y="170511"/>
                    </a:lnTo>
                    <a:cubicBezTo>
                      <a:pt x="119152" y="173250"/>
                      <a:pt x="116413" y="175989"/>
                      <a:pt x="113674" y="175989"/>
                    </a:cubicBezTo>
                    <a:close/>
                    <a:moveTo>
                      <a:pt x="49304" y="165717"/>
                    </a:moveTo>
                    <a:lnTo>
                      <a:pt x="108880" y="165717"/>
                    </a:lnTo>
                    <a:lnTo>
                      <a:pt x="108880" y="152022"/>
                    </a:lnTo>
                    <a:cubicBezTo>
                      <a:pt x="108880" y="152022"/>
                      <a:pt x="108196" y="140381"/>
                      <a:pt x="118468" y="133533"/>
                    </a:cubicBezTo>
                    <a:cubicBezTo>
                      <a:pt x="136272" y="122576"/>
                      <a:pt x="147228" y="100663"/>
                      <a:pt x="147228" y="78065"/>
                    </a:cubicBezTo>
                    <a:cubicBezTo>
                      <a:pt x="147228" y="40402"/>
                      <a:pt x="116413" y="10272"/>
                      <a:pt x="79435" y="10272"/>
                    </a:cubicBezTo>
                    <a:cubicBezTo>
                      <a:pt x="41772" y="10272"/>
                      <a:pt x="11641" y="41087"/>
                      <a:pt x="11641" y="78065"/>
                    </a:cubicBezTo>
                    <a:cubicBezTo>
                      <a:pt x="11641" y="100663"/>
                      <a:pt x="22598" y="121207"/>
                      <a:pt x="40402" y="133533"/>
                    </a:cubicBezTo>
                    <a:cubicBezTo>
                      <a:pt x="47250" y="138326"/>
                      <a:pt x="49304" y="141750"/>
                      <a:pt x="49989" y="143120"/>
                    </a:cubicBezTo>
                    <a:cubicBezTo>
                      <a:pt x="49989" y="143804"/>
                      <a:pt x="50674" y="144489"/>
                      <a:pt x="50674" y="145174"/>
                    </a:cubicBezTo>
                    <a:lnTo>
                      <a:pt x="50674" y="165717"/>
                    </a:ln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6" name="Freeform: Shape 45">
                <a:extLst>
                  <a:ext uri="{FF2B5EF4-FFF2-40B4-BE49-F238E27FC236}">
                    <a16:creationId xmlns:a16="http://schemas.microsoft.com/office/drawing/2014/main" id="{0BEDE7FD-C542-FE0C-F389-AD372341FED6}"/>
                  </a:ext>
                </a:extLst>
              </p:cNvPr>
              <p:cNvSpPr/>
              <p:nvPr/>
            </p:nvSpPr>
            <p:spPr>
              <a:xfrm>
                <a:off x="2168275" y="1423539"/>
                <a:ext cx="60261" cy="5478"/>
              </a:xfrm>
              <a:custGeom>
                <a:avLst/>
                <a:gdLst>
                  <a:gd name="connsiteX0" fmla="*/ 74641 w 75326"/>
                  <a:gd name="connsiteY0" fmla="*/ 10957 h 6847"/>
                  <a:gd name="connsiteX1" fmla="*/ 5478 w 75326"/>
                  <a:gd name="connsiteY1" fmla="*/ 10957 h 6847"/>
                  <a:gd name="connsiteX2" fmla="*/ 0 w 75326"/>
                  <a:gd name="connsiteY2" fmla="*/ 5478 h 6847"/>
                  <a:gd name="connsiteX3" fmla="*/ 5478 w 75326"/>
                  <a:gd name="connsiteY3" fmla="*/ 0 h 6847"/>
                  <a:gd name="connsiteX4" fmla="*/ 74641 w 75326"/>
                  <a:gd name="connsiteY4" fmla="*/ 0 h 6847"/>
                  <a:gd name="connsiteX5" fmla="*/ 80120 w 75326"/>
                  <a:gd name="connsiteY5" fmla="*/ 5478 h 6847"/>
                  <a:gd name="connsiteX6" fmla="*/ 74641 w 75326"/>
                  <a:gd name="connsiteY6" fmla="*/ 10957 h 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26" h="6847">
                    <a:moveTo>
                      <a:pt x="74641" y="10957"/>
                    </a:moveTo>
                    <a:lnTo>
                      <a:pt x="5478" y="10957"/>
                    </a:lnTo>
                    <a:cubicBezTo>
                      <a:pt x="2739" y="10957"/>
                      <a:pt x="0" y="8902"/>
                      <a:pt x="0" y="5478"/>
                    </a:cubicBezTo>
                    <a:cubicBezTo>
                      <a:pt x="0" y="2739"/>
                      <a:pt x="2054" y="0"/>
                      <a:pt x="5478" y="0"/>
                    </a:cubicBezTo>
                    <a:lnTo>
                      <a:pt x="74641" y="0"/>
                    </a:lnTo>
                    <a:cubicBezTo>
                      <a:pt x="77380" y="0"/>
                      <a:pt x="80120" y="2054"/>
                      <a:pt x="80120" y="5478"/>
                    </a:cubicBezTo>
                    <a:cubicBezTo>
                      <a:pt x="80120" y="8217"/>
                      <a:pt x="77380" y="10957"/>
                      <a:pt x="74641" y="10957"/>
                    </a:cubicBez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7" name="Freeform: Shape 46">
                <a:extLst>
                  <a:ext uri="{FF2B5EF4-FFF2-40B4-BE49-F238E27FC236}">
                    <a16:creationId xmlns:a16="http://schemas.microsoft.com/office/drawing/2014/main" id="{D342D9D7-FC77-D43E-8F2B-F96CC8BA4B74}"/>
                  </a:ext>
                </a:extLst>
              </p:cNvPr>
              <p:cNvSpPr/>
              <p:nvPr/>
            </p:nvSpPr>
            <p:spPr>
              <a:xfrm>
                <a:off x="2178683" y="1439426"/>
                <a:ext cx="38348" cy="5478"/>
              </a:xfrm>
              <a:custGeom>
                <a:avLst/>
                <a:gdLst>
                  <a:gd name="connsiteX0" fmla="*/ 48620 w 47934"/>
                  <a:gd name="connsiteY0" fmla="*/ 10957 h 6847"/>
                  <a:gd name="connsiteX1" fmla="*/ 5478 w 47934"/>
                  <a:gd name="connsiteY1" fmla="*/ 10957 h 6847"/>
                  <a:gd name="connsiteX2" fmla="*/ 0 w 47934"/>
                  <a:gd name="connsiteY2" fmla="*/ 5478 h 6847"/>
                  <a:gd name="connsiteX3" fmla="*/ 5478 w 47934"/>
                  <a:gd name="connsiteY3" fmla="*/ 0 h 6847"/>
                  <a:gd name="connsiteX4" fmla="*/ 48620 w 47934"/>
                  <a:gd name="connsiteY4" fmla="*/ 0 h 6847"/>
                  <a:gd name="connsiteX5" fmla="*/ 54098 w 47934"/>
                  <a:gd name="connsiteY5" fmla="*/ 5478 h 6847"/>
                  <a:gd name="connsiteX6" fmla="*/ 48620 w 47934"/>
                  <a:gd name="connsiteY6" fmla="*/ 10957 h 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34" h="6847">
                    <a:moveTo>
                      <a:pt x="48620" y="10957"/>
                    </a:moveTo>
                    <a:lnTo>
                      <a:pt x="5478" y="10957"/>
                    </a:lnTo>
                    <a:cubicBezTo>
                      <a:pt x="2739" y="10957"/>
                      <a:pt x="0" y="8902"/>
                      <a:pt x="0" y="5478"/>
                    </a:cubicBezTo>
                    <a:cubicBezTo>
                      <a:pt x="0" y="2054"/>
                      <a:pt x="2054" y="0"/>
                      <a:pt x="5478" y="0"/>
                    </a:cubicBezTo>
                    <a:lnTo>
                      <a:pt x="48620" y="0"/>
                    </a:lnTo>
                    <a:cubicBezTo>
                      <a:pt x="51359" y="0"/>
                      <a:pt x="54098" y="2054"/>
                      <a:pt x="54098" y="5478"/>
                    </a:cubicBezTo>
                    <a:cubicBezTo>
                      <a:pt x="54098" y="8902"/>
                      <a:pt x="52044" y="10957"/>
                      <a:pt x="48620" y="10957"/>
                    </a:cubicBez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8" name="Freeform: Shape 47">
                <a:extLst>
                  <a:ext uri="{FF2B5EF4-FFF2-40B4-BE49-F238E27FC236}">
                    <a16:creationId xmlns:a16="http://schemas.microsoft.com/office/drawing/2014/main" id="{EF07B62B-4532-C99B-A348-516929402328}"/>
                  </a:ext>
                </a:extLst>
              </p:cNvPr>
              <p:cNvSpPr/>
              <p:nvPr/>
            </p:nvSpPr>
            <p:spPr>
              <a:xfrm>
                <a:off x="2195119" y="1220295"/>
                <a:ext cx="5478" cy="43826"/>
              </a:xfrm>
              <a:custGeom>
                <a:avLst/>
                <a:gdLst>
                  <a:gd name="connsiteX0" fmla="*/ 5478 w 6847"/>
                  <a:gd name="connsiteY0" fmla="*/ 55467 h 54782"/>
                  <a:gd name="connsiteX1" fmla="*/ 0 w 6847"/>
                  <a:gd name="connsiteY1" fmla="*/ 50674 h 54782"/>
                  <a:gd name="connsiteX2" fmla="*/ 0 w 6847"/>
                  <a:gd name="connsiteY2" fmla="*/ 5478 h 54782"/>
                  <a:gd name="connsiteX3" fmla="*/ 5478 w 6847"/>
                  <a:gd name="connsiteY3" fmla="*/ 0 h 54782"/>
                  <a:gd name="connsiteX4" fmla="*/ 10957 w 6847"/>
                  <a:gd name="connsiteY4" fmla="*/ 5478 h 54782"/>
                  <a:gd name="connsiteX5" fmla="*/ 10957 w 6847"/>
                  <a:gd name="connsiteY5" fmla="*/ 50674 h 54782"/>
                  <a:gd name="connsiteX6" fmla="*/ 5478 w 6847"/>
                  <a:gd name="connsiteY6" fmla="*/ 55467 h 5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7" h="54782">
                    <a:moveTo>
                      <a:pt x="5478" y="55467"/>
                    </a:moveTo>
                    <a:cubicBezTo>
                      <a:pt x="2739" y="55467"/>
                      <a:pt x="0" y="53413"/>
                      <a:pt x="0" y="50674"/>
                    </a:cubicBezTo>
                    <a:lnTo>
                      <a:pt x="0" y="5478"/>
                    </a:lnTo>
                    <a:cubicBezTo>
                      <a:pt x="0" y="2739"/>
                      <a:pt x="2054" y="0"/>
                      <a:pt x="5478" y="0"/>
                    </a:cubicBezTo>
                    <a:cubicBezTo>
                      <a:pt x="8902" y="0"/>
                      <a:pt x="10957" y="2054"/>
                      <a:pt x="10957" y="5478"/>
                    </a:cubicBezTo>
                    <a:lnTo>
                      <a:pt x="10957" y="50674"/>
                    </a:lnTo>
                    <a:cubicBezTo>
                      <a:pt x="10272" y="53413"/>
                      <a:pt x="8217" y="55467"/>
                      <a:pt x="5478" y="55467"/>
                    </a:cubicBez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9" name="Freeform: Shape 48">
                <a:extLst>
                  <a:ext uri="{FF2B5EF4-FFF2-40B4-BE49-F238E27FC236}">
                    <a16:creationId xmlns:a16="http://schemas.microsoft.com/office/drawing/2014/main" id="{46BA7ADC-2540-FE01-F9E0-32113A0FEE23}"/>
                  </a:ext>
                </a:extLst>
              </p:cNvPr>
              <p:cNvSpPr/>
              <p:nvPr/>
            </p:nvSpPr>
            <p:spPr>
              <a:xfrm>
                <a:off x="2110068" y="1250837"/>
                <a:ext cx="32869" cy="32870"/>
              </a:xfrm>
              <a:custGeom>
                <a:avLst/>
                <a:gdLst>
                  <a:gd name="connsiteX0" fmla="*/ 37149 w 41086"/>
                  <a:gd name="connsiteY0" fmla="*/ 42628 h 41086"/>
                  <a:gd name="connsiteX1" fmla="*/ 33726 w 41086"/>
                  <a:gd name="connsiteY1" fmla="*/ 41258 h 41086"/>
                  <a:gd name="connsiteX2" fmla="*/ 1541 w 41086"/>
                  <a:gd name="connsiteY2" fmla="*/ 9073 h 41086"/>
                  <a:gd name="connsiteX3" fmla="*/ 1541 w 41086"/>
                  <a:gd name="connsiteY3" fmla="*/ 1541 h 41086"/>
                  <a:gd name="connsiteX4" fmla="*/ 9074 w 41086"/>
                  <a:gd name="connsiteY4" fmla="*/ 1541 h 41086"/>
                  <a:gd name="connsiteX5" fmla="*/ 41258 w 41086"/>
                  <a:gd name="connsiteY5" fmla="*/ 33726 h 41086"/>
                  <a:gd name="connsiteX6" fmla="*/ 41258 w 41086"/>
                  <a:gd name="connsiteY6" fmla="*/ 41258 h 41086"/>
                  <a:gd name="connsiteX7" fmla="*/ 37149 w 41086"/>
                  <a:gd name="connsiteY7" fmla="*/ 42628 h 4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86" h="41086">
                    <a:moveTo>
                      <a:pt x="37149" y="42628"/>
                    </a:moveTo>
                    <a:cubicBezTo>
                      <a:pt x="35780" y="42628"/>
                      <a:pt x="34410" y="41943"/>
                      <a:pt x="33726" y="41258"/>
                    </a:cubicBezTo>
                    <a:lnTo>
                      <a:pt x="1541" y="9073"/>
                    </a:lnTo>
                    <a:cubicBezTo>
                      <a:pt x="-514" y="7019"/>
                      <a:pt x="-514" y="3595"/>
                      <a:pt x="1541" y="1541"/>
                    </a:cubicBezTo>
                    <a:cubicBezTo>
                      <a:pt x="3595" y="-514"/>
                      <a:pt x="7019" y="-514"/>
                      <a:pt x="9074" y="1541"/>
                    </a:cubicBezTo>
                    <a:lnTo>
                      <a:pt x="41258" y="33726"/>
                    </a:lnTo>
                    <a:cubicBezTo>
                      <a:pt x="43313" y="35780"/>
                      <a:pt x="43313" y="39204"/>
                      <a:pt x="41258" y="41258"/>
                    </a:cubicBezTo>
                    <a:cubicBezTo>
                      <a:pt x="39889" y="42628"/>
                      <a:pt x="38519" y="42628"/>
                      <a:pt x="37149" y="42628"/>
                    </a:cubicBez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50" name="Freeform: Shape 49">
                <a:extLst>
                  <a:ext uri="{FF2B5EF4-FFF2-40B4-BE49-F238E27FC236}">
                    <a16:creationId xmlns:a16="http://schemas.microsoft.com/office/drawing/2014/main" id="{2387565E-D00D-2C4A-5857-78B90A01810E}"/>
                  </a:ext>
                </a:extLst>
              </p:cNvPr>
              <p:cNvSpPr/>
              <p:nvPr/>
            </p:nvSpPr>
            <p:spPr>
              <a:xfrm>
                <a:off x="2257982" y="1250837"/>
                <a:ext cx="32869" cy="32870"/>
              </a:xfrm>
              <a:custGeom>
                <a:avLst/>
                <a:gdLst>
                  <a:gd name="connsiteX0" fmla="*/ 4965 w 41086"/>
                  <a:gd name="connsiteY0" fmla="*/ 42628 h 41086"/>
                  <a:gd name="connsiteX1" fmla="*/ 1541 w 41086"/>
                  <a:gd name="connsiteY1" fmla="*/ 41258 h 41086"/>
                  <a:gd name="connsiteX2" fmla="*/ 1541 w 41086"/>
                  <a:gd name="connsiteY2" fmla="*/ 33726 h 41086"/>
                  <a:gd name="connsiteX3" fmla="*/ 33726 w 41086"/>
                  <a:gd name="connsiteY3" fmla="*/ 1541 h 41086"/>
                  <a:gd name="connsiteX4" fmla="*/ 41258 w 41086"/>
                  <a:gd name="connsiteY4" fmla="*/ 1541 h 41086"/>
                  <a:gd name="connsiteX5" fmla="*/ 41258 w 41086"/>
                  <a:gd name="connsiteY5" fmla="*/ 9073 h 41086"/>
                  <a:gd name="connsiteX6" fmla="*/ 9074 w 41086"/>
                  <a:gd name="connsiteY6" fmla="*/ 41258 h 41086"/>
                  <a:gd name="connsiteX7" fmla="*/ 4965 w 41086"/>
                  <a:gd name="connsiteY7" fmla="*/ 42628 h 4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86" h="41086">
                    <a:moveTo>
                      <a:pt x="4965" y="42628"/>
                    </a:moveTo>
                    <a:cubicBezTo>
                      <a:pt x="3595" y="42628"/>
                      <a:pt x="2226" y="41943"/>
                      <a:pt x="1541" y="41258"/>
                    </a:cubicBezTo>
                    <a:cubicBezTo>
                      <a:pt x="-514" y="39204"/>
                      <a:pt x="-514" y="35780"/>
                      <a:pt x="1541" y="33726"/>
                    </a:cubicBezTo>
                    <a:lnTo>
                      <a:pt x="33726" y="1541"/>
                    </a:lnTo>
                    <a:cubicBezTo>
                      <a:pt x="35780" y="-514"/>
                      <a:pt x="39204" y="-514"/>
                      <a:pt x="41258" y="1541"/>
                    </a:cubicBezTo>
                    <a:cubicBezTo>
                      <a:pt x="43313" y="3595"/>
                      <a:pt x="43313" y="7019"/>
                      <a:pt x="41258" y="9073"/>
                    </a:cubicBezTo>
                    <a:lnTo>
                      <a:pt x="9074" y="41258"/>
                    </a:lnTo>
                    <a:cubicBezTo>
                      <a:pt x="7019" y="42628"/>
                      <a:pt x="6334" y="42628"/>
                      <a:pt x="4965" y="42628"/>
                    </a:cubicBezTo>
                    <a:close/>
                  </a:path>
                </a:pathLst>
              </a:custGeom>
              <a:grp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nvGrpSpPr>
            <p:cNvPr id="38" name="Group 37">
              <a:extLst>
                <a:ext uri="{FF2B5EF4-FFF2-40B4-BE49-F238E27FC236}">
                  <a16:creationId xmlns:a16="http://schemas.microsoft.com/office/drawing/2014/main" id="{8926E71C-4FAA-03C7-518D-F56A9377E4B8}"/>
                </a:ext>
              </a:extLst>
            </p:cNvPr>
            <p:cNvGrpSpPr/>
            <p:nvPr/>
          </p:nvGrpSpPr>
          <p:grpSpPr>
            <a:xfrm>
              <a:off x="495170" y="3077386"/>
              <a:ext cx="534568" cy="245316"/>
              <a:chOff x="495170" y="3077386"/>
              <a:chExt cx="534568" cy="245316"/>
            </a:xfrm>
          </p:grpSpPr>
          <p:sp>
            <p:nvSpPr>
              <p:cNvPr id="39" name="Freeform: Shape 38">
                <a:extLst>
                  <a:ext uri="{FF2B5EF4-FFF2-40B4-BE49-F238E27FC236}">
                    <a16:creationId xmlns:a16="http://schemas.microsoft.com/office/drawing/2014/main" id="{4212A6DC-EDF7-6BAF-7F71-A9189DF246FB}"/>
                  </a:ext>
                </a:extLst>
              </p:cNvPr>
              <p:cNvSpPr/>
              <p:nvPr/>
            </p:nvSpPr>
            <p:spPr>
              <a:xfrm>
                <a:off x="495170" y="3192947"/>
                <a:ext cx="128243" cy="129755"/>
              </a:xfrm>
              <a:custGeom>
                <a:avLst/>
                <a:gdLst>
                  <a:gd name="connsiteX0" fmla="*/ 84057 w 130108"/>
                  <a:gd name="connsiteY0" fmla="*/ 134755 h 130108"/>
                  <a:gd name="connsiteX1" fmla="*/ 79264 w 130108"/>
                  <a:gd name="connsiteY1" fmla="*/ 131331 h 130108"/>
                  <a:gd name="connsiteX2" fmla="*/ 74470 w 130108"/>
                  <a:gd name="connsiteY2" fmla="*/ 119690 h 130108"/>
                  <a:gd name="connsiteX3" fmla="*/ 58035 w 130108"/>
                  <a:gd name="connsiteY3" fmla="*/ 119690 h 130108"/>
                  <a:gd name="connsiteX4" fmla="*/ 53242 w 130108"/>
                  <a:gd name="connsiteY4" fmla="*/ 130646 h 130108"/>
                  <a:gd name="connsiteX5" fmla="*/ 46394 w 130108"/>
                  <a:gd name="connsiteY5" fmla="*/ 133385 h 130108"/>
                  <a:gd name="connsiteX6" fmla="*/ 32698 w 130108"/>
                  <a:gd name="connsiteY6" fmla="*/ 127222 h 130108"/>
                  <a:gd name="connsiteX7" fmla="*/ 29959 w 130108"/>
                  <a:gd name="connsiteY7" fmla="*/ 124483 h 130108"/>
                  <a:gd name="connsiteX8" fmla="*/ 29959 w 130108"/>
                  <a:gd name="connsiteY8" fmla="*/ 120374 h 130108"/>
                  <a:gd name="connsiteX9" fmla="*/ 34753 w 130108"/>
                  <a:gd name="connsiteY9" fmla="*/ 108733 h 130108"/>
                  <a:gd name="connsiteX10" fmla="*/ 23796 w 130108"/>
                  <a:gd name="connsiteY10" fmla="*/ 96407 h 130108"/>
                  <a:gd name="connsiteX11" fmla="*/ 12155 w 130108"/>
                  <a:gd name="connsiteY11" fmla="*/ 100516 h 130108"/>
                  <a:gd name="connsiteX12" fmla="*/ 5307 w 130108"/>
                  <a:gd name="connsiteY12" fmla="*/ 97092 h 130108"/>
                  <a:gd name="connsiteX13" fmla="*/ 513 w 130108"/>
                  <a:gd name="connsiteY13" fmla="*/ 83396 h 130108"/>
                  <a:gd name="connsiteX14" fmla="*/ 513 w 130108"/>
                  <a:gd name="connsiteY14" fmla="*/ 79287 h 130108"/>
                  <a:gd name="connsiteX15" fmla="*/ 3253 w 130108"/>
                  <a:gd name="connsiteY15" fmla="*/ 76548 h 130108"/>
                  <a:gd name="connsiteX16" fmla="*/ 14894 w 130108"/>
                  <a:gd name="connsiteY16" fmla="*/ 72440 h 130108"/>
                  <a:gd name="connsiteX17" fmla="*/ 15579 w 130108"/>
                  <a:gd name="connsiteY17" fmla="*/ 58059 h 130108"/>
                  <a:gd name="connsiteX18" fmla="*/ 3937 w 130108"/>
                  <a:gd name="connsiteY18" fmla="*/ 53266 h 130108"/>
                  <a:gd name="connsiteX19" fmla="*/ 1198 w 130108"/>
                  <a:gd name="connsiteY19" fmla="*/ 46418 h 130108"/>
                  <a:gd name="connsiteX20" fmla="*/ 7361 w 130108"/>
                  <a:gd name="connsiteY20" fmla="*/ 32722 h 130108"/>
                  <a:gd name="connsiteX21" fmla="*/ 10101 w 130108"/>
                  <a:gd name="connsiteY21" fmla="*/ 29983 h 130108"/>
                  <a:gd name="connsiteX22" fmla="*/ 14209 w 130108"/>
                  <a:gd name="connsiteY22" fmla="*/ 29983 h 130108"/>
                  <a:gd name="connsiteX23" fmla="*/ 25851 w 130108"/>
                  <a:gd name="connsiteY23" fmla="*/ 34776 h 130108"/>
                  <a:gd name="connsiteX24" fmla="*/ 36122 w 130108"/>
                  <a:gd name="connsiteY24" fmla="*/ 24505 h 130108"/>
                  <a:gd name="connsiteX25" fmla="*/ 31329 w 130108"/>
                  <a:gd name="connsiteY25" fmla="*/ 12863 h 130108"/>
                  <a:gd name="connsiteX26" fmla="*/ 31329 w 130108"/>
                  <a:gd name="connsiteY26" fmla="*/ 8755 h 130108"/>
                  <a:gd name="connsiteX27" fmla="*/ 34068 w 130108"/>
                  <a:gd name="connsiteY27" fmla="*/ 6016 h 130108"/>
                  <a:gd name="connsiteX28" fmla="*/ 47764 w 130108"/>
                  <a:gd name="connsiteY28" fmla="*/ 537 h 130108"/>
                  <a:gd name="connsiteX29" fmla="*/ 54611 w 130108"/>
                  <a:gd name="connsiteY29" fmla="*/ 3276 h 130108"/>
                  <a:gd name="connsiteX30" fmla="*/ 59405 w 130108"/>
                  <a:gd name="connsiteY30" fmla="*/ 14918 h 130108"/>
                  <a:gd name="connsiteX31" fmla="*/ 75840 w 130108"/>
                  <a:gd name="connsiteY31" fmla="*/ 14918 h 130108"/>
                  <a:gd name="connsiteX32" fmla="*/ 80633 w 130108"/>
                  <a:gd name="connsiteY32" fmla="*/ 3276 h 130108"/>
                  <a:gd name="connsiteX33" fmla="*/ 87481 w 130108"/>
                  <a:gd name="connsiteY33" fmla="*/ 537 h 130108"/>
                  <a:gd name="connsiteX34" fmla="*/ 101177 w 130108"/>
                  <a:gd name="connsiteY34" fmla="*/ 6700 h 130108"/>
                  <a:gd name="connsiteX35" fmla="*/ 103916 w 130108"/>
                  <a:gd name="connsiteY35" fmla="*/ 13548 h 130108"/>
                  <a:gd name="connsiteX36" fmla="*/ 99122 w 130108"/>
                  <a:gd name="connsiteY36" fmla="*/ 25189 h 130108"/>
                  <a:gd name="connsiteX37" fmla="*/ 110079 w 130108"/>
                  <a:gd name="connsiteY37" fmla="*/ 37516 h 130108"/>
                  <a:gd name="connsiteX38" fmla="*/ 121720 w 130108"/>
                  <a:gd name="connsiteY38" fmla="*/ 33407 h 130108"/>
                  <a:gd name="connsiteX39" fmla="*/ 128568 w 130108"/>
                  <a:gd name="connsiteY39" fmla="*/ 36831 h 130108"/>
                  <a:gd name="connsiteX40" fmla="*/ 133362 w 130108"/>
                  <a:gd name="connsiteY40" fmla="*/ 50526 h 130108"/>
                  <a:gd name="connsiteX41" fmla="*/ 133362 w 130108"/>
                  <a:gd name="connsiteY41" fmla="*/ 54635 h 130108"/>
                  <a:gd name="connsiteX42" fmla="*/ 130622 w 130108"/>
                  <a:gd name="connsiteY42" fmla="*/ 57374 h 130108"/>
                  <a:gd name="connsiteX43" fmla="*/ 118981 w 130108"/>
                  <a:gd name="connsiteY43" fmla="*/ 61483 h 130108"/>
                  <a:gd name="connsiteX44" fmla="*/ 118296 w 130108"/>
                  <a:gd name="connsiteY44" fmla="*/ 75863 h 130108"/>
                  <a:gd name="connsiteX45" fmla="*/ 129938 w 130108"/>
                  <a:gd name="connsiteY45" fmla="*/ 80657 h 130108"/>
                  <a:gd name="connsiteX46" fmla="*/ 132677 w 130108"/>
                  <a:gd name="connsiteY46" fmla="*/ 83396 h 130108"/>
                  <a:gd name="connsiteX47" fmla="*/ 132677 w 130108"/>
                  <a:gd name="connsiteY47" fmla="*/ 87505 h 130108"/>
                  <a:gd name="connsiteX48" fmla="*/ 126514 w 130108"/>
                  <a:gd name="connsiteY48" fmla="*/ 101200 h 130108"/>
                  <a:gd name="connsiteX49" fmla="*/ 119666 w 130108"/>
                  <a:gd name="connsiteY49" fmla="*/ 103940 h 130108"/>
                  <a:gd name="connsiteX50" fmla="*/ 108024 w 130108"/>
                  <a:gd name="connsiteY50" fmla="*/ 99146 h 130108"/>
                  <a:gd name="connsiteX51" fmla="*/ 97753 w 130108"/>
                  <a:gd name="connsiteY51" fmla="*/ 109418 h 130108"/>
                  <a:gd name="connsiteX52" fmla="*/ 102546 w 130108"/>
                  <a:gd name="connsiteY52" fmla="*/ 121059 h 130108"/>
                  <a:gd name="connsiteX53" fmla="*/ 102546 w 130108"/>
                  <a:gd name="connsiteY53" fmla="*/ 125168 h 130108"/>
                  <a:gd name="connsiteX54" fmla="*/ 99807 w 130108"/>
                  <a:gd name="connsiteY54" fmla="*/ 127907 h 130108"/>
                  <a:gd name="connsiteX55" fmla="*/ 86111 w 130108"/>
                  <a:gd name="connsiteY55" fmla="*/ 133385 h 130108"/>
                  <a:gd name="connsiteX56" fmla="*/ 84057 w 130108"/>
                  <a:gd name="connsiteY56" fmla="*/ 134755 h 130108"/>
                  <a:gd name="connsiteX57" fmla="*/ 77894 w 130108"/>
                  <a:gd name="connsiteY57" fmla="*/ 109418 h 130108"/>
                  <a:gd name="connsiteX58" fmla="*/ 82687 w 130108"/>
                  <a:gd name="connsiteY58" fmla="*/ 112842 h 130108"/>
                  <a:gd name="connsiteX59" fmla="*/ 86796 w 130108"/>
                  <a:gd name="connsiteY59" fmla="*/ 123113 h 130108"/>
                  <a:gd name="connsiteX60" fmla="*/ 90905 w 130108"/>
                  <a:gd name="connsiteY60" fmla="*/ 121744 h 130108"/>
                  <a:gd name="connsiteX61" fmla="*/ 86796 w 130108"/>
                  <a:gd name="connsiteY61" fmla="*/ 111472 h 130108"/>
                  <a:gd name="connsiteX62" fmla="*/ 88851 w 130108"/>
                  <a:gd name="connsiteY62" fmla="*/ 105309 h 130108"/>
                  <a:gd name="connsiteX63" fmla="*/ 101861 w 130108"/>
                  <a:gd name="connsiteY63" fmla="*/ 92298 h 130108"/>
                  <a:gd name="connsiteX64" fmla="*/ 108024 w 130108"/>
                  <a:gd name="connsiteY64" fmla="*/ 90244 h 130108"/>
                  <a:gd name="connsiteX65" fmla="*/ 118296 w 130108"/>
                  <a:gd name="connsiteY65" fmla="*/ 95037 h 130108"/>
                  <a:gd name="connsiteX66" fmla="*/ 120350 w 130108"/>
                  <a:gd name="connsiteY66" fmla="*/ 90929 h 130108"/>
                  <a:gd name="connsiteX67" fmla="*/ 110079 w 130108"/>
                  <a:gd name="connsiteY67" fmla="*/ 86135 h 130108"/>
                  <a:gd name="connsiteX68" fmla="*/ 107340 w 130108"/>
                  <a:gd name="connsiteY68" fmla="*/ 79972 h 130108"/>
                  <a:gd name="connsiteX69" fmla="*/ 108024 w 130108"/>
                  <a:gd name="connsiteY69" fmla="*/ 61483 h 130108"/>
                  <a:gd name="connsiteX70" fmla="*/ 111448 w 130108"/>
                  <a:gd name="connsiteY70" fmla="*/ 56005 h 130108"/>
                  <a:gd name="connsiteX71" fmla="*/ 122405 w 130108"/>
                  <a:gd name="connsiteY71" fmla="*/ 51896 h 130108"/>
                  <a:gd name="connsiteX72" fmla="*/ 121035 w 130108"/>
                  <a:gd name="connsiteY72" fmla="*/ 47787 h 130108"/>
                  <a:gd name="connsiteX73" fmla="*/ 110079 w 130108"/>
                  <a:gd name="connsiteY73" fmla="*/ 51896 h 130108"/>
                  <a:gd name="connsiteX74" fmla="*/ 103916 w 130108"/>
                  <a:gd name="connsiteY74" fmla="*/ 49842 h 130108"/>
                  <a:gd name="connsiteX75" fmla="*/ 90220 w 130108"/>
                  <a:gd name="connsiteY75" fmla="*/ 34776 h 130108"/>
                  <a:gd name="connsiteX76" fmla="*/ 88166 w 130108"/>
                  <a:gd name="connsiteY76" fmla="*/ 28613 h 130108"/>
                  <a:gd name="connsiteX77" fmla="*/ 92959 w 130108"/>
                  <a:gd name="connsiteY77" fmla="*/ 18342 h 130108"/>
                  <a:gd name="connsiteX78" fmla="*/ 88851 w 130108"/>
                  <a:gd name="connsiteY78" fmla="*/ 16287 h 130108"/>
                  <a:gd name="connsiteX79" fmla="*/ 84057 w 130108"/>
                  <a:gd name="connsiteY79" fmla="*/ 26559 h 130108"/>
                  <a:gd name="connsiteX80" fmla="*/ 77894 w 130108"/>
                  <a:gd name="connsiteY80" fmla="*/ 29298 h 130108"/>
                  <a:gd name="connsiteX81" fmla="*/ 58035 w 130108"/>
                  <a:gd name="connsiteY81" fmla="*/ 29298 h 130108"/>
                  <a:gd name="connsiteX82" fmla="*/ 51872 w 130108"/>
                  <a:gd name="connsiteY82" fmla="*/ 26559 h 130108"/>
                  <a:gd name="connsiteX83" fmla="*/ 47764 w 130108"/>
                  <a:gd name="connsiteY83" fmla="*/ 16287 h 130108"/>
                  <a:gd name="connsiteX84" fmla="*/ 43655 w 130108"/>
                  <a:gd name="connsiteY84" fmla="*/ 17657 h 130108"/>
                  <a:gd name="connsiteX85" fmla="*/ 47764 w 130108"/>
                  <a:gd name="connsiteY85" fmla="*/ 27929 h 130108"/>
                  <a:gd name="connsiteX86" fmla="*/ 45709 w 130108"/>
                  <a:gd name="connsiteY86" fmla="*/ 34092 h 130108"/>
                  <a:gd name="connsiteX87" fmla="*/ 32698 w 130108"/>
                  <a:gd name="connsiteY87" fmla="*/ 47103 h 130108"/>
                  <a:gd name="connsiteX88" fmla="*/ 26535 w 130108"/>
                  <a:gd name="connsiteY88" fmla="*/ 49157 h 130108"/>
                  <a:gd name="connsiteX89" fmla="*/ 16264 w 130108"/>
                  <a:gd name="connsiteY89" fmla="*/ 44363 h 130108"/>
                  <a:gd name="connsiteX90" fmla="*/ 14209 w 130108"/>
                  <a:gd name="connsiteY90" fmla="*/ 48472 h 130108"/>
                  <a:gd name="connsiteX91" fmla="*/ 24481 w 130108"/>
                  <a:gd name="connsiteY91" fmla="*/ 53266 h 130108"/>
                  <a:gd name="connsiteX92" fmla="*/ 27220 w 130108"/>
                  <a:gd name="connsiteY92" fmla="*/ 59429 h 130108"/>
                  <a:gd name="connsiteX93" fmla="*/ 26535 w 130108"/>
                  <a:gd name="connsiteY93" fmla="*/ 77918 h 130108"/>
                  <a:gd name="connsiteX94" fmla="*/ 23111 w 130108"/>
                  <a:gd name="connsiteY94" fmla="*/ 83396 h 130108"/>
                  <a:gd name="connsiteX95" fmla="*/ 12155 w 130108"/>
                  <a:gd name="connsiteY95" fmla="*/ 87505 h 130108"/>
                  <a:gd name="connsiteX96" fmla="*/ 13525 w 130108"/>
                  <a:gd name="connsiteY96" fmla="*/ 91613 h 130108"/>
                  <a:gd name="connsiteX97" fmla="*/ 24481 w 130108"/>
                  <a:gd name="connsiteY97" fmla="*/ 87505 h 130108"/>
                  <a:gd name="connsiteX98" fmla="*/ 30644 w 130108"/>
                  <a:gd name="connsiteY98" fmla="*/ 89559 h 130108"/>
                  <a:gd name="connsiteX99" fmla="*/ 44340 w 130108"/>
                  <a:gd name="connsiteY99" fmla="*/ 104624 h 130108"/>
                  <a:gd name="connsiteX100" fmla="*/ 46394 w 130108"/>
                  <a:gd name="connsiteY100" fmla="*/ 110787 h 130108"/>
                  <a:gd name="connsiteX101" fmla="*/ 41600 w 130108"/>
                  <a:gd name="connsiteY101" fmla="*/ 121059 h 130108"/>
                  <a:gd name="connsiteX102" fmla="*/ 45709 w 130108"/>
                  <a:gd name="connsiteY102" fmla="*/ 123113 h 130108"/>
                  <a:gd name="connsiteX103" fmla="*/ 50503 w 130108"/>
                  <a:gd name="connsiteY103" fmla="*/ 112842 h 130108"/>
                  <a:gd name="connsiteX104" fmla="*/ 56666 w 130108"/>
                  <a:gd name="connsiteY104" fmla="*/ 110103 h 130108"/>
                  <a:gd name="connsiteX105" fmla="*/ 76524 w 130108"/>
                  <a:gd name="connsiteY105" fmla="*/ 110103 h 130108"/>
                  <a:gd name="connsiteX106" fmla="*/ 77894 w 130108"/>
                  <a:gd name="connsiteY106" fmla="*/ 109418 h 13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30108" h="130108">
                    <a:moveTo>
                      <a:pt x="84057" y="134755"/>
                    </a:moveTo>
                    <a:cubicBezTo>
                      <a:pt x="82003" y="134755"/>
                      <a:pt x="79948" y="133385"/>
                      <a:pt x="79264" y="131331"/>
                    </a:cubicBezTo>
                    <a:lnTo>
                      <a:pt x="74470" y="119690"/>
                    </a:lnTo>
                    <a:cubicBezTo>
                      <a:pt x="68992" y="120374"/>
                      <a:pt x="63514" y="120374"/>
                      <a:pt x="58035" y="119690"/>
                    </a:cubicBezTo>
                    <a:lnTo>
                      <a:pt x="53242" y="130646"/>
                    </a:lnTo>
                    <a:cubicBezTo>
                      <a:pt x="51872" y="133385"/>
                      <a:pt x="49133" y="134070"/>
                      <a:pt x="46394" y="133385"/>
                    </a:cubicBezTo>
                    <a:lnTo>
                      <a:pt x="32698" y="127222"/>
                    </a:lnTo>
                    <a:cubicBezTo>
                      <a:pt x="31329" y="126537"/>
                      <a:pt x="30644" y="125853"/>
                      <a:pt x="29959" y="124483"/>
                    </a:cubicBezTo>
                    <a:cubicBezTo>
                      <a:pt x="29274" y="123113"/>
                      <a:pt x="29274" y="121744"/>
                      <a:pt x="29959" y="120374"/>
                    </a:cubicBezTo>
                    <a:lnTo>
                      <a:pt x="34753" y="108733"/>
                    </a:lnTo>
                    <a:cubicBezTo>
                      <a:pt x="30644" y="105309"/>
                      <a:pt x="26535" y="101200"/>
                      <a:pt x="23796" y="96407"/>
                    </a:cubicBezTo>
                    <a:lnTo>
                      <a:pt x="12155" y="100516"/>
                    </a:lnTo>
                    <a:cubicBezTo>
                      <a:pt x="9416" y="101200"/>
                      <a:pt x="6677" y="99831"/>
                      <a:pt x="5307" y="97092"/>
                    </a:cubicBezTo>
                    <a:lnTo>
                      <a:pt x="513" y="83396"/>
                    </a:lnTo>
                    <a:cubicBezTo>
                      <a:pt x="-171" y="82026"/>
                      <a:pt x="-171" y="80657"/>
                      <a:pt x="513" y="79287"/>
                    </a:cubicBezTo>
                    <a:cubicBezTo>
                      <a:pt x="1198" y="77918"/>
                      <a:pt x="1883" y="77233"/>
                      <a:pt x="3253" y="76548"/>
                    </a:cubicBezTo>
                    <a:lnTo>
                      <a:pt x="14894" y="72440"/>
                    </a:lnTo>
                    <a:cubicBezTo>
                      <a:pt x="14209" y="67646"/>
                      <a:pt x="14894" y="62853"/>
                      <a:pt x="15579" y="58059"/>
                    </a:cubicBezTo>
                    <a:lnTo>
                      <a:pt x="3937" y="53266"/>
                    </a:lnTo>
                    <a:cubicBezTo>
                      <a:pt x="1198" y="51896"/>
                      <a:pt x="513" y="49157"/>
                      <a:pt x="1198" y="46418"/>
                    </a:cubicBezTo>
                    <a:lnTo>
                      <a:pt x="7361" y="32722"/>
                    </a:lnTo>
                    <a:cubicBezTo>
                      <a:pt x="8046" y="31353"/>
                      <a:pt x="8731" y="30668"/>
                      <a:pt x="10101" y="29983"/>
                    </a:cubicBezTo>
                    <a:cubicBezTo>
                      <a:pt x="11470" y="29298"/>
                      <a:pt x="12840" y="29298"/>
                      <a:pt x="14209" y="29983"/>
                    </a:cubicBezTo>
                    <a:lnTo>
                      <a:pt x="25851" y="34776"/>
                    </a:lnTo>
                    <a:cubicBezTo>
                      <a:pt x="28590" y="30668"/>
                      <a:pt x="32014" y="27929"/>
                      <a:pt x="36122" y="24505"/>
                    </a:cubicBezTo>
                    <a:lnTo>
                      <a:pt x="31329" y="12863"/>
                    </a:lnTo>
                    <a:cubicBezTo>
                      <a:pt x="30644" y="11494"/>
                      <a:pt x="30644" y="10124"/>
                      <a:pt x="31329" y="8755"/>
                    </a:cubicBezTo>
                    <a:cubicBezTo>
                      <a:pt x="32014" y="7385"/>
                      <a:pt x="32698" y="6700"/>
                      <a:pt x="34068" y="6016"/>
                    </a:cubicBezTo>
                    <a:lnTo>
                      <a:pt x="47764" y="537"/>
                    </a:lnTo>
                    <a:cubicBezTo>
                      <a:pt x="50503" y="-832"/>
                      <a:pt x="53242" y="537"/>
                      <a:pt x="54611" y="3276"/>
                    </a:cubicBezTo>
                    <a:lnTo>
                      <a:pt x="59405" y="14918"/>
                    </a:lnTo>
                    <a:cubicBezTo>
                      <a:pt x="64883" y="14233"/>
                      <a:pt x="70361" y="14233"/>
                      <a:pt x="75840" y="14918"/>
                    </a:cubicBezTo>
                    <a:lnTo>
                      <a:pt x="80633" y="3276"/>
                    </a:lnTo>
                    <a:cubicBezTo>
                      <a:pt x="82003" y="537"/>
                      <a:pt x="84742" y="-147"/>
                      <a:pt x="87481" y="537"/>
                    </a:cubicBezTo>
                    <a:lnTo>
                      <a:pt x="101177" y="6700"/>
                    </a:lnTo>
                    <a:cubicBezTo>
                      <a:pt x="103916" y="8070"/>
                      <a:pt x="104601" y="10809"/>
                      <a:pt x="103916" y="13548"/>
                    </a:cubicBezTo>
                    <a:lnTo>
                      <a:pt x="99122" y="25189"/>
                    </a:lnTo>
                    <a:cubicBezTo>
                      <a:pt x="103231" y="28613"/>
                      <a:pt x="107340" y="32722"/>
                      <a:pt x="110079" y="37516"/>
                    </a:cubicBezTo>
                    <a:lnTo>
                      <a:pt x="121720" y="33407"/>
                    </a:lnTo>
                    <a:cubicBezTo>
                      <a:pt x="124459" y="32722"/>
                      <a:pt x="127198" y="34092"/>
                      <a:pt x="128568" y="36831"/>
                    </a:cubicBezTo>
                    <a:lnTo>
                      <a:pt x="133362" y="50526"/>
                    </a:lnTo>
                    <a:cubicBezTo>
                      <a:pt x="134046" y="51896"/>
                      <a:pt x="134046" y="53266"/>
                      <a:pt x="133362" y="54635"/>
                    </a:cubicBezTo>
                    <a:cubicBezTo>
                      <a:pt x="132677" y="56005"/>
                      <a:pt x="131992" y="56689"/>
                      <a:pt x="130622" y="57374"/>
                    </a:cubicBezTo>
                    <a:lnTo>
                      <a:pt x="118981" y="61483"/>
                    </a:lnTo>
                    <a:cubicBezTo>
                      <a:pt x="119666" y="66276"/>
                      <a:pt x="118981" y="71070"/>
                      <a:pt x="118296" y="75863"/>
                    </a:cubicBezTo>
                    <a:lnTo>
                      <a:pt x="129938" y="80657"/>
                    </a:lnTo>
                    <a:cubicBezTo>
                      <a:pt x="131307" y="81342"/>
                      <a:pt x="131992" y="82026"/>
                      <a:pt x="132677" y="83396"/>
                    </a:cubicBezTo>
                    <a:cubicBezTo>
                      <a:pt x="133362" y="84766"/>
                      <a:pt x="133362" y="86135"/>
                      <a:pt x="132677" y="87505"/>
                    </a:cubicBezTo>
                    <a:lnTo>
                      <a:pt x="126514" y="101200"/>
                    </a:lnTo>
                    <a:cubicBezTo>
                      <a:pt x="125144" y="103940"/>
                      <a:pt x="122405" y="104624"/>
                      <a:pt x="119666" y="103940"/>
                    </a:cubicBezTo>
                    <a:lnTo>
                      <a:pt x="108024" y="99146"/>
                    </a:lnTo>
                    <a:cubicBezTo>
                      <a:pt x="105285" y="103255"/>
                      <a:pt x="101861" y="105994"/>
                      <a:pt x="97753" y="109418"/>
                    </a:cubicBezTo>
                    <a:lnTo>
                      <a:pt x="102546" y="121059"/>
                    </a:lnTo>
                    <a:cubicBezTo>
                      <a:pt x="103231" y="122429"/>
                      <a:pt x="103231" y="123798"/>
                      <a:pt x="102546" y="125168"/>
                    </a:cubicBezTo>
                    <a:cubicBezTo>
                      <a:pt x="101861" y="126537"/>
                      <a:pt x="101177" y="127222"/>
                      <a:pt x="99807" y="127907"/>
                    </a:cubicBezTo>
                    <a:lnTo>
                      <a:pt x="86111" y="133385"/>
                    </a:lnTo>
                    <a:cubicBezTo>
                      <a:pt x="85427" y="134755"/>
                      <a:pt x="84742" y="134755"/>
                      <a:pt x="84057" y="134755"/>
                    </a:cubicBezTo>
                    <a:close/>
                    <a:moveTo>
                      <a:pt x="77894" y="109418"/>
                    </a:moveTo>
                    <a:cubicBezTo>
                      <a:pt x="79948" y="109418"/>
                      <a:pt x="82003" y="110787"/>
                      <a:pt x="82687" y="112842"/>
                    </a:cubicBezTo>
                    <a:lnTo>
                      <a:pt x="86796" y="123113"/>
                    </a:lnTo>
                    <a:lnTo>
                      <a:pt x="90905" y="121744"/>
                    </a:lnTo>
                    <a:lnTo>
                      <a:pt x="86796" y="111472"/>
                    </a:lnTo>
                    <a:cubicBezTo>
                      <a:pt x="86111" y="109418"/>
                      <a:pt x="86796" y="106679"/>
                      <a:pt x="88851" y="105309"/>
                    </a:cubicBezTo>
                    <a:cubicBezTo>
                      <a:pt x="94329" y="101885"/>
                      <a:pt x="98438" y="97776"/>
                      <a:pt x="101861" y="92298"/>
                    </a:cubicBezTo>
                    <a:cubicBezTo>
                      <a:pt x="103231" y="90244"/>
                      <a:pt x="105970" y="89559"/>
                      <a:pt x="108024" y="90244"/>
                    </a:cubicBezTo>
                    <a:lnTo>
                      <a:pt x="118296" y="95037"/>
                    </a:lnTo>
                    <a:lnTo>
                      <a:pt x="120350" y="90929"/>
                    </a:lnTo>
                    <a:lnTo>
                      <a:pt x="110079" y="86135"/>
                    </a:lnTo>
                    <a:cubicBezTo>
                      <a:pt x="108024" y="84766"/>
                      <a:pt x="106655" y="82711"/>
                      <a:pt x="107340" y="79972"/>
                    </a:cubicBezTo>
                    <a:cubicBezTo>
                      <a:pt x="108709" y="73809"/>
                      <a:pt x="109394" y="67646"/>
                      <a:pt x="108024" y="61483"/>
                    </a:cubicBezTo>
                    <a:cubicBezTo>
                      <a:pt x="107340" y="58744"/>
                      <a:pt x="108709" y="56689"/>
                      <a:pt x="111448" y="56005"/>
                    </a:cubicBezTo>
                    <a:lnTo>
                      <a:pt x="122405" y="51896"/>
                    </a:lnTo>
                    <a:lnTo>
                      <a:pt x="121035" y="47787"/>
                    </a:lnTo>
                    <a:lnTo>
                      <a:pt x="110079" y="51896"/>
                    </a:lnTo>
                    <a:cubicBezTo>
                      <a:pt x="108024" y="52581"/>
                      <a:pt x="105285" y="51896"/>
                      <a:pt x="103916" y="49842"/>
                    </a:cubicBezTo>
                    <a:cubicBezTo>
                      <a:pt x="100492" y="43679"/>
                      <a:pt x="95698" y="38885"/>
                      <a:pt x="90220" y="34776"/>
                    </a:cubicBezTo>
                    <a:cubicBezTo>
                      <a:pt x="88166" y="33407"/>
                      <a:pt x="87481" y="30668"/>
                      <a:pt x="88166" y="28613"/>
                    </a:cubicBezTo>
                    <a:lnTo>
                      <a:pt x="92959" y="18342"/>
                    </a:lnTo>
                    <a:lnTo>
                      <a:pt x="88851" y="16287"/>
                    </a:lnTo>
                    <a:lnTo>
                      <a:pt x="84057" y="26559"/>
                    </a:lnTo>
                    <a:cubicBezTo>
                      <a:pt x="82687" y="28613"/>
                      <a:pt x="80633" y="29983"/>
                      <a:pt x="77894" y="29298"/>
                    </a:cubicBezTo>
                    <a:cubicBezTo>
                      <a:pt x="71046" y="27244"/>
                      <a:pt x="64198" y="27244"/>
                      <a:pt x="58035" y="29298"/>
                    </a:cubicBezTo>
                    <a:cubicBezTo>
                      <a:pt x="55296" y="29983"/>
                      <a:pt x="53242" y="28613"/>
                      <a:pt x="51872" y="26559"/>
                    </a:cubicBezTo>
                    <a:lnTo>
                      <a:pt x="47764" y="16287"/>
                    </a:lnTo>
                    <a:lnTo>
                      <a:pt x="43655" y="17657"/>
                    </a:lnTo>
                    <a:lnTo>
                      <a:pt x="47764" y="27929"/>
                    </a:lnTo>
                    <a:cubicBezTo>
                      <a:pt x="48448" y="29983"/>
                      <a:pt x="47764" y="32722"/>
                      <a:pt x="45709" y="34092"/>
                    </a:cubicBezTo>
                    <a:cubicBezTo>
                      <a:pt x="40231" y="37516"/>
                      <a:pt x="36122" y="41624"/>
                      <a:pt x="32698" y="47103"/>
                    </a:cubicBezTo>
                    <a:cubicBezTo>
                      <a:pt x="31329" y="49157"/>
                      <a:pt x="28590" y="49842"/>
                      <a:pt x="26535" y="49157"/>
                    </a:cubicBezTo>
                    <a:lnTo>
                      <a:pt x="16264" y="44363"/>
                    </a:lnTo>
                    <a:lnTo>
                      <a:pt x="14209" y="48472"/>
                    </a:lnTo>
                    <a:lnTo>
                      <a:pt x="24481" y="53266"/>
                    </a:lnTo>
                    <a:cubicBezTo>
                      <a:pt x="26535" y="54635"/>
                      <a:pt x="27905" y="56689"/>
                      <a:pt x="27220" y="59429"/>
                    </a:cubicBezTo>
                    <a:cubicBezTo>
                      <a:pt x="25851" y="65592"/>
                      <a:pt x="25166" y="71755"/>
                      <a:pt x="26535" y="77918"/>
                    </a:cubicBezTo>
                    <a:cubicBezTo>
                      <a:pt x="27220" y="80657"/>
                      <a:pt x="25851" y="82711"/>
                      <a:pt x="23111" y="83396"/>
                    </a:cubicBezTo>
                    <a:lnTo>
                      <a:pt x="12155" y="87505"/>
                    </a:lnTo>
                    <a:lnTo>
                      <a:pt x="13525" y="91613"/>
                    </a:lnTo>
                    <a:lnTo>
                      <a:pt x="24481" y="87505"/>
                    </a:lnTo>
                    <a:cubicBezTo>
                      <a:pt x="26535" y="86820"/>
                      <a:pt x="29274" y="87505"/>
                      <a:pt x="30644" y="89559"/>
                    </a:cubicBezTo>
                    <a:cubicBezTo>
                      <a:pt x="34068" y="95722"/>
                      <a:pt x="38861" y="100516"/>
                      <a:pt x="44340" y="104624"/>
                    </a:cubicBezTo>
                    <a:cubicBezTo>
                      <a:pt x="46394" y="105994"/>
                      <a:pt x="47079" y="108733"/>
                      <a:pt x="46394" y="110787"/>
                    </a:cubicBezTo>
                    <a:lnTo>
                      <a:pt x="41600" y="121059"/>
                    </a:lnTo>
                    <a:lnTo>
                      <a:pt x="45709" y="123113"/>
                    </a:lnTo>
                    <a:lnTo>
                      <a:pt x="50503" y="112842"/>
                    </a:lnTo>
                    <a:cubicBezTo>
                      <a:pt x="51872" y="110787"/>
                      <a:pt x="53927" y="109418"/>
                      <a:pt x="56666" y="110103"/>
                    </a:cubicBezTo>
                    <a:cubicBezTo>
                      <a:pt x="63514" y="112157"/>
                      <a:pt x="70361" y="112157"/>
                      <a:pt x="76524" y="110103"/>
                    </a:cubicBezTo>
                    <a:cubicBezTo>
                      <a:pt x="76524" y="109418"/>
                      <a:pt x="77209" y="109418"/>
                      <a:pt x="77894" y="109418"/>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0" name="Freeform: Shape 39">
                <a:extLst>
                  <a:ext uri="{FF2B5EF4-FFF2-40B4-BE49-F238E27FC236}">
                    <a16:creationId xmlns:a16="http://schemas.microsoft.com/office/drawing/2014/main" id="{B096E0A9-61FB-703B-9E78-A9818DC97970}"/>
                  </a:ext>
                </a:extLst>
              </p:cNvPr>
              <p:cNvSpPr/>
              <p:nvPr/>
            </p:nvSpPr>
            <p:spPr>
              <a:xfrm>
                <a:off x="901495" y="3192947"/>
                <a:ext cx="128243" cy="129755"/>
              </a:xfrm>
              <a:custGeom>
                <a:avLst/>
                <a:gdLst>
                  <a:gd name="connsiteX0" fmla="*/ 84057 w 130108"/>
                  <a:gd name="connsiteY0" fmla="*/ 134755 h 130108"/>
                  <a:gd name="connsiteX1" fmla="*/ 82003 w 130108"/>
                  <a:gd name="connsiteY1" fmla="*/ 134070 h 130108"/>
                  <a:gd name="connsiteX2" fmla="*/ 79264 w 130108"/>
                  <a:gd name="connsiteY2" fmla="*/ 131331 h 130108"/>
                  <a:gd name="connsiteX3" fmla="*/ 74470 w 130108"/>
                  <a:gd name="connsiteY3" fmla="*/ 119690 h 130108"/>
                  <a:gd name="connsiteX4" fmla="*/ 58035 w 130108"/>
                  <a:gd name="connsiteY4" fmla="*/ 119690 h 130108"/>
                  <a:gd name="connsiteX5" fmla="*/ 53242 w 130108"/>
                  <a:gd name="connsiteY5" fmla="*/ 130646 h 130108"/>
                  <a:gd name="connsiteX6" fmla="*/ 46394 w 130108"/>
                  <a:gd name="connsiteY6" fmla="*/ 133385 h 130108"/>
                  <a:gd name="connsiteX7" fmla="*/ 32699 w 130108"/>
                  <a:gd name="connsiteY7" fmla="*/ 127222 h 130108"/>
                  <a:gd name="connsiteX8" fmla="*/ 29959 w 130108"/>
                  <a:gd name="connsiteY8" fmla="*/ 124483 h 130108"/>
                  <a:gd name="connsiteX9" fmla="*/ 29959 w 130108"/>
                  <a:gd name="connsiteY9" fmla="*/ 120374 h 130108"/>
                  <a:gd name="connsiteX10" fmla="*/ 34753 w 130108"/>
                  <a:gd name="connsiteY10" fmla="*/ 108733 h 130108"/>
                  <a:gd name="connsiteX11" fmla="*/ 23796 w 130108"/>
                  <a:gd name="connsiteY11" fmla="*/ 96407 h 130108"/>
                  <a:gd name="connsiteX12" fmla="*/ 12155 w 130108"/>
                  <a:gd name="connsiteY12" fmla="*/ 100516 h 130108"/>
                  <a:gd name="connsiteX13" fmla="*/ 5307 w 130108"/>
                  <a:gd name="connsiteY13" fmla="*/ 97092 h 130108"/>
                  <a:gd name="connsiteX14" fmla="*/ 514 w 130108"/>
                  <a:gd name="connsiteY14" fmla="*/ 83396 h 130108"/>
                  <a:gd name="connsiteX15" fmla="*/ 514 w 130108"/>
                  <a:gd name="connsiteY15" fmla="*/ 79287 h 130108"/>
                  <a:gd name="connsiteX16" fmla="*/ 3253 w 130108"/>
                  <a:gd name="connsiteY16" fmla="*/ 76548 h 130108"/>
                  <a:gd name="connsiteX17" fmla="*/ 14894 w 130108"/>
                  <a:gd name="connsiteY17" fmla="*/ 72440 h 130108"/>
                  <a:gd name="connsiteX18" fmla="*/ 15579 w 130108"/>
                  <a:gd name="connsiteY18" fmla="*/ 58059 h 130108"/>
                  <a:gd name="connsiteX19" fmla="*/ 3938 w 130108"/>
                  <a:gd name="connsiteY19" fmla="*/ 53266 h 130108"/>
                  <a:gd name="connsiteX20" fmla="*/ 1198 w 130108"/>
                  <a:gd name="connsiteY20" fmla="*/ 46418 h 130108"/>
                  <a:gd name="connsiteX21" fmla="*/ 7361 w 130108"/>
                  <a:gd name="connsiteY21" fmla="*/ 32722 h 130108"/>
                  <a:gd name="connsiteX22" fmla="*/ 10101 w 130108"/>
                  <a:gd name="connsiteY22" fmla="*/ 29983 h 130108"/>
                  <a:gd name="connsiteX23" fmla="*/ 14209 w 130108"/>
                  <a:gd name="connsiteY23" fmla="*/ 29983 h 130108"/>
                  <a:gd name="connsiteX24" fmla="*/ 25851 w 130108"/>
                  <a:gd name="connsiteY24" fmla="*/ 34776 h 130108"/>
                  <a:gd name="connsiteX25" fmla="*/ 36122 w 130108"/>
                  <a:gd name="connsiteY25" fmla="*/ 24505 h 130108"/>
                  <a:gd name="connsiteX26" fmla="*/ 31329 w 130108"/>
                  <a:gd name="connsiteY26" fmla="*/ 12863 h 130108"/>
                  <a:gd name="connsiteX27" fmla="*/ 31329 w 130108"/>
                  <a:gd name="connsiteY27" fmla="*/ 8755 h 130108"/>
                  <a:gd name="connsiteX28" fmla="*/ 34068 w 130108"/>
                  <a:gd name="connsiteY28" fmla="*/ 6016 h 130108"/>
                  <a:gd name="connsiteX29" fmla="*/ 47764 w 130108"/>
                  <a:gd name="connsiteY29" fmla="*/ 537 h 130108"/>
                  <a:gd name="connsiteX30" fmla="*/ 54611 w 130108"/>
                  <a:gd name="connsiteY30" fmla="*/ 3276 h 130108"/>
                  <a:gd name="connsiteX31" fmla="*/ 59405 w 130108"/>
                  <a:gd name="connsiteY31" fmla="*/ 14918 h 130108"/>
                  <a:gd name="connsiteX32" fmla="*/ 75840 w 130108"/>
                  <a:gd name="connsiteY32" fmla="*/ 14918 h 130108"/>
                  <a:gd name="connsiteX33" fmla="*/ 80633 w 130108"/>
                  <a:gd name="connsiteY33" fmla="*/ 3276 h 130108"/>
                  <a:gd name="connsiteX34" fmla="*/ 87481 w 130108"/>
                  <a:gd name="connsiteY34" fmla="*/ 537 h 130108"/>
                  <a:gd name="connsiteX35" fmla="*/ 101177 w 130108"/>
                  <a:gd name="connsiteY35" fmla="*/ 6700 h 130108"/>
                  <a:gd name="connsiteX36" fmla="*/ 103916 w 130108"/>
                  <a:gd name="connsiteY36" fmla="*/ 13548 h 130108"/>
                  <a:gd name="connsiteX37" fmla="*/ 99122 w 130108"/>
                  <a:gd name="connsiteY37" fmla="*/ 25189 h 130108"/>
                  <a:gd name="connsiteX38" fmla="*/ 110079 w 130108"/>
                  <a:gd name="connsiteY38" fmla="*/ 37516 h 130108"/>
                  <a:gd name="connsiteX39" fmla="*/ 121720 w 130108"/>
                  <a:gd name="connsiteY39" fmla="*/ 33407 h 130108"/>
                  <a:gd name="connsiteX40" fmla="*/ 128568 w 130108"/>
                  <a:gd name="connsiteY40" fmla="*/ 36831 h 130108"/>
                  <a:gd name="connsiteX41" fmla="*/ 133361 w 130108"/>
                  <a:gd name="connsiteY41" fmla="*/ 50526 h 130108"/>
                  <a:gd name="connsiteX42" fmla="*/ 133361 w 130108"/>
                  <a:gd name="connsiteY42" fmla="*/ 54635 h 130108"/>
                  <a:gd name="connsiteX43" fmla="*/ 130622 w 130108"/>
                  <a:gd name="connsiteY43" fmla="*/ 57374 h 130108"/>
                  <a:gd name="connsiteX44" fmla="*/ 118981 w 130108"/>
                  <a:gd name="connsiteY44" fmla="*/ 61483 h 130108"/>
                  <a:gd name="connsiteX45" fmla="*/ 118296 w 130108"/>
                  <a:gd name="connsiteY45" fmla="*/ 75863 h 130108"/>
                  <a:gd name="connsiteX46" fmla="*/ 129938 w 130108"/>
                  <a:gd name="connsiteY46" fmla="*/ 80657 h 130108"/>
                  <a:gd name="connsiteX47" fmla="*/ 132677 w 130108"/>
                  <a:gd name="connsiteY47" fmla="*/ 83396 h 130108"/>
                  <a:gd name="connsiteX48" fmla="*/ 132677 w 130108"/>
                  <a:gd name="connsiteY48" fmla="*/ 87505 h 130108"/>
                  <a:gd name="connsiteX49" fmla="*/ 126514 w 130108"/>
                  <a:gd name="connsiteY49" fmla="*/ 101200 h 130108"/>
                  <a:gd name="connsiteX50" fmla="*/ 119666 w 130108"/>
                  <a:gd name="connsiteY50" fmla="*/ 103940 h 130108"/>
                  <a:gd name="connsiteX51" fmla="*/ 108025 w 130108"/>
                  <a:gd name="connsiteY51" fmla="*/ 99146 h 130108"/>
                  <a:gd name="connsiteX52" fmla="*/ 97753 w 130108"/>
                  <a:gd name="connsiteY52" fmla="*/ 109418 h 130108"/>
                  <a:gd name="connsiteX53" fmla="*/ 102546 w 130108"/>
                  <a:gd name="connsiteY53" fmla="*/ 121059 h 130108"/>
                  <a:gd name="connsiteX54" fmla="*/ 102546 w 130108"/>
                  <a:gd name="connsiteY54" fmla="*/ 125168 h 130108"/>
                  <a:gd name="connsiteX55" fmla="*/ 99807 w 130108"/>
                  <a:gd name="connsiteY55" fmla="*/ 127907 h 130108"/>
                  <a:gd name="connsiteX56" fmla="*/ 86111 w 130108"/>
                  <a:gd name="connsiteY56" fmla="*/ 133385 h 130108"/>
                  <a:gd name="connsiteX57" fmla="*/ 84057 w 130108"/>
                  <a:gd name="connsiteY57" fmla="*/ 134755 h 130108"/>
                  <a:gd name="connsiteX58" fmla="*/ 77894 w 130108"/>
                  <a:gd name="connsiteY58" fmla="*/ 109418 h 130108"/>
                  <a:gd name="connsiteX59" fmla="*/ 82688 w 130108"/>
                  <a:gd name="connsiteY59" fmla="*/ 112842 h 130108"/>
                  <a:gd name="connsiteX60" fmla="*/ 86796 w 130108"/>
                  <a:gd name="connsiteY60" fmla="*/ 123113 h 130108"/>
                  <a:gd name="connsiteX61" fmla="*/ 90905 w 130108"/>
                  <a:gd name="connsiteY61" fmla="*/ 121744 h 130108"/>
                  <a:gd name="connsiteX62" fmla="*/ 86796 w 130108"/>
                  <a:gd name="connsiteY62" fmla="*/ 111472 h 130108"/>
                  <a:gd name="connsiteX63" fmla="*/ 88851 w 130108"/>
                  <a:gd name="connsiteY63" fmla="*/ 105309 h 130108"/>
                  <a:gd name="connsiteX64" fmla="*/ 101861 w 130108"/>
                  <a:gd name="connsiteY64" fmla="*/ 92298 h 130108"/>
                  <a:gd name="connsiteX65" fmla="*/ 108025 w 130108"/>
                  <a:gd name="connsiteY65" fmla="*/ 90244 h 130108"/>
                  <a:gd name="connsiteX66" fmla="*/ 118296 w 130108"/>
                  <a:gd name="connsiteY66" fmla="*/ 95037 h 130108"/>
                  <a:gd name="connsiteX67" fmla="*/ 120351 w 130108"/>
                  <a:gd name="connsiteY67" fmla="*/ 90929 h 130108"/>
                  <a:gd name="connsiteX68" fmla="*/ 110079 w 130108"/>
                  <a:gd name="connsiteY68" fmla="*/ 86135 h 130108"/>
                  <a:gd name="connsiteX69" fmla="*/ 107340 w 130108"/>
                  <a:gd name="connsiteY69" fmla="*/ 79972 h 130108"/>
                  <a:gd name="connsiteX70" fmla="*/ 108025 w 130108"/>
                  <a:gd name="connsiteY70" fmla="*/ 61483 h 130108"/>
                  <a:gd name="connsiteX71" fmla="*/ 111449 w 130108"/>
                  <a:gd name="connsiteY71" fmla="*/ 56005 h 130108"/>
                  <a:gd name="connsiteX72" fmla="*/ 122405 w 130108"/>
                  <a:gd name="connsiteY72" fmla="*/ 51896 h 130108"/>
                  <a:gd name="connsiteX73" fmla="*/ 121035 w 130108"/>
                  <a:gd name="connsiteY73" fmla="*/ 47787 h 130108"/>
                  <a:gd name="connsiteX74" fmla="*/ 110079 w 130108"/>
                  <a:gd name="connsiteY74" fmla="*/ 51896 h 130108"/>
                  <a:gd name="connsiteX75" fmla="*/ 103916 w 130108"/>
                  <a:gd name="connsiteY75" fmla="*/ 49842 h 130108"/>
                  <a:gd name="connsiteX76" fmla="*/ 90220 w 130108"/>
                  <a:gd name="connsiteY76" fmla="*/ 34776 h 130108"/>
                  <a:gd name="connsiteX77" fmla="*/ 88166 w 130108"/>
                  <a:gd name="connsiteY77" fmla="*/ 28613 h 130108"/>
                  <a:gd name="connsiteX78" fmla="*/ 92959 w 130108"/>
                  <a:gd name="connsiteY78" fmla="*/ 18342 h 130108"/>
                  <a:gd name="connsiteX79" fmla="*/ 88851 w 130108"/>
                  <a:gd name="connsiteY79" fmla="*/ 16287 h 130108"/>
                  <a:gd name="connsiteX80" fmla="*/ 84057 w 130108"/>
                  <a:gd name="connsiteY80" fmla="*/ 26559 h 130108"/>
                  <a:gd name="connsiteX81" fmla="*/ 77894 w 130108"/>
                  <a:gd name="connsiteY81" fmla="*/ 29298 h 130108"/>
                  <a:gd name="connsiteX82" fmla="*/ 58035 w 130108"/>
                  <a:gd name="connsiteY82" fmla="*/ 29298 h 130108"/>
                  <a:gd name="connsiteX83" fmla="*/ 51872 w 130108"/>
                  <a:gd name="connsiteY83" fmla="*/ 26559 h 130108"/>
                  <a:gd name="connsiteX84" fmla="*/ 47764 w 130108"/>
                  <a:gd name="connsiteY84" fmla="*/ 16287 h 130108"/>
                  <a:gd name="connsiteX85" fmla="*/ 43655 w 130108"/>
                  <a:gd name="connsiteY85" fmla="*/ 17657 h 130108"/>
                  <a:gd name="connsiteX86" fmla="*/ 47764 w 130108"/>
                  <a:gd name="connsiteY86" fmla="*/ 27929 h 130108"/>
                  <a:gd name="connsiteX87" fmla="*/ 45709 w 130108"/>
                  <a:gd name="connsiteY87" fmla="*/ 34092 h 130108"/>
                  <a:gd name="connsiteX88" fmla="*/ 32699 w 130108"/>
                  <a:gd name="connsiteY88" fmla="*/ 47103 h 130108"/>
                  <a:gd name="connsiteX89" fmla="*/ 26535 w 130108"/>
                  <a:gd name="connsiteY89" fmla="*/ 49157 h 130108"/>
                  <a:gd name="connsiteX90" fmla="*/ 16264 w 130108"/>
                  <a:gd name="connsiteY90" fmla="*/ 44363 h 130108"/>
                  <a:gd name="connsiteX91" fmla="*/ 14209 w 130108"/>
                  <a:gd name="connsiteY91" fmla="*/ 48472 h 130108"/>
                  <a:gd name="connsiteX92" fmla="*/ 24481 w 130108"/>
                  <a:gd name="connsiteY92" fmla="*/ 53266 h 130108"/>
                  <a:gd name="connsiteX93" fmla="*/ 27220 w 130108"/>
                  <a:gd name="connsiteY93" fmla="*/ 59429 h 130108"/>
                  <a:gd name="connsiteX94" fmla="*/ 26535 w 130108"/>
                  <a:gd name="connsiteY94" fmla="*/ 77918 h 130108"/>
                  <a:gd name="connsiteX95" fmla="*/ 23111 w 130108"/>
                  <a:gd name="connsiteY95" fmla="*/ 83396 h 130108"/>
                  <a:gd name="connsiteX96" fmla="*/ 12155 w 130108"/>
                  <a:gd name="connsiteY96" fmla="*/ 87505 h 130108"/>
                  <a:gd name="connsiteX97" fmla="*/ 13524 w 130108"/>
                  <a:gd name="connsiteY97" fmla="*/ 91613 h 130108"/>
                  <a:gd name="connsiteX98" fmla="*/ 24481 w 130108"/>
                  <a:gd name="connsiteY98" fmla="*/ 87505 h 130108"/>
                  <a:gd name="connsiteX99" fmla="*/ 30644 w 130108"/>
                  <a:gd name="connsiteY99" fmla="*/ 89559 h 130108"/>
                  <a:gd name="connsiteX100" fmla="*/ 44340 w 130108"/>
                  <a:gd name="connsiteY100" fmla="*/ 104624 h 130108"/>
                  <a:gd name="connsiteX101" fmla="*/ 46394 w 130108"/>
                  <a:gd name="connsiteY101" fmla="*/ 110787 h 130108"/>
                  <a:gd name="connsiteX102" fmla="*/ 41601 w 130108"/>
                  <a:gd name="connsiteY102" fmla="*/ 121059 h 130108"/>
                  <a:gd name="connsiteX103" fmla="*/ 45709 w 130108"/>
                  <a:gd name="connsiteY103" fmla="*/ 123113 h 130108"/>
                  <a:gd name="connsiteX104" fmla="*/ 50503 w 130108"/>
                  <a:gd name="connsiteY104" fmla="*/ 112842 h 130108"/>
                  <a:gd name="connsiteX105" fmla="*/ 56666 w 130108"/>
                  <a:gd name="connsiteY105" fmla="*/ 110103 h 130108"/>
                  <a:gd name="connsiteX106" fmla="*/ 76525 w 130108"/>
                  <a:gd name="connsiteY106" fmla="*/ 110103 h 130108"/>
                  <a:gd name="connsiteX107" fmla="*/ 77894 w 130108"/>
                  <a:gd name="connsiteY107" fmla="*/ 109418 h 13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108" h="130108">
                    <a:moveTo>
                      <a:pt x="84057" y="134755"/>
                    </a:moveTo>
                    <a:cubicBezTo>
                      <a:pt x="83372" y="134755"/>
                      <a:pt x="82688" y="134755"/>
                      <a:pt x="82003" y="134070"/>
                    </a:cubicBezTo>
                    <a:cubicBezTo>
                      <a:pt x="80633" y="133385"/>
                      <a:pt x="79948" y="132700"/>
                      <a:pt x="79264" y="131331"/>
                    </a:cubicBezTo>
                    <a:lnTo>
                      <a:pt x="74470" y="119690"/>
                    </a:lnTo>
                    <a:cubicBezTo>
                      <a:pt x="68992" y="120374"/>
                      <a:pt x="63514" y="120374"/>
                      <a:pt x="58035" y="119690"/>
                    </a:cubicBezTo>
                    <a:lnTo>
                      <a:pt x="53242" y="130646"/>
                    </a:lnTo>
                    <a:cubicBezTo>
                      <a:pt x="51872" y="133385"/>
                      <a:pt x="49133" y="134070"/>
                      <a:pt x="46394" y="133385"/>
                    </a:cubicBezTo>
                    <a:lnTo>
                      <a:pt x="32699" y="127222"/>
                    </a:lnTo>
                    <a:cubicBezTo>
                      <a:pt x="31329" y="126537"/>
                      <a:pt x="30644" y="125853"/>
                      <a:pt x="29959" y="124483"/>
                    </a:cubicBezTo>
                    <a:cubicBezTo>
                      <a:pt x="29275" y="123113"/>
                      <a:pt x="29275" y="121744"/>
                      <a:pt x="29959" y="120374"/>
                    </a:cubicBezTo>
                    <a:lnTo>
                      <a:pt x="34753" y="108733"/>
                    </a:lnTo>
                    <a:cubicBezTo>
                      <a:pt x="30644" y="105309"/>
                      <a:pt x="26535" y="101200"/>
                      <a:pt x="23796" y="96407"/>
                    </a:cubicBezTo>
                    <a:lnTo>
                      <a:pt x="12155" y="100516"/>
                    </a:lnTo>
                    <a:cubicBezTo>
                      <a:pt x="9416" y="101200"/>
                      <a:pt x="6677" y="99831"/>
                      <a:pt x="5307" y="97092"/>
                    </a:cubicBezTo>
                    <a:lnTo>
                      <a:pt x="514" y="83396"/>
                    </a:lnTo>
                    <a:cubicBezTo>
                      <a:pt x="-171" y="82026"/>
                      <a:pt x="-171" y="80657"/>
                      <a:pt x="514" y="79287"/>
                    </a:cubicBezTo>
                    <a:cubicBezTo>
                      <a:pt x="1198" y="77918"/>
                      <a:pt x="1883" y="77233"/>
                      <a:pt x="3253" y="76548"/>
                    </a:cubicBezTo>
                    <a:lnTo>
                      <a:pt x="14894" y="72440"/>
                    </a:lnTo>
                    <a:cubicBezTo>
                      <a:pt x="14209" y="67646"/>
                      <a:pt x="14894" y="62853"/>
                      <a:pt x="15579" y="58059"/>
                    </a:cubicBezTo>
                    <a:lnTo>
                      <a:pt x="3938" y="53266"/>
                    </a:lnTo>
                    <a:cubicBezTo>
                      <a:pt x="1198" y="51896"/>
                      <a:pt x="514" y="49157"/>
                      <a:pt x="1198" y="46418"/>
                    </a:cubicBezTo>
                    <a:lnTo>
                      <a:pt x="7361" y="32722"/>
                    </a:lnTo>
                    <a:cubicBezTo>
                      <a:pt x="8046" y="31353"/>
                      <a:pt x="8731" y="30668"/>
                      <a:pt x="10101" y="29983"/>
                    </a:cubicBezTo>
                    <a:cubicBezTo>
                      <a:pt x="11470" y="29298"/>
                      <a:pt x="12840" y="29298"/>
                      <a:pt x="14209" y="29983"/>
                    </a:cubicBezTo>
                    <a:lnTo>
                      <a:pt x="25851" y="34776"/>
                    </a:lnTo>
                    <a:cubicBezTo>
                      <a:pt x="28590" y="30668"/>
                      <a:pt x="32014" y="27929"/>
                      <a:pt x="36122" y="24505"/>
                    </a:cubicBezTo>
                    <a:lnTo>
                      <a:pt x="31329" y="12863"/>
                    </a:lnTo>
                    <a:cubicBezTo>
                      <a:pt x="30644" y="11494"/>
                      <a:pt x="30644" y="10124"/>
                      <a:pt x="31329" y="8755"/>
                    </a:cubicBezTo>
                    <a:cubicBezTo>
                      <a:pt x="32014" y="7385"/>
                      <a:pt x="32699" y="6700"/>
                      <a:pt x="34068" y="6016"/>
                    </a:cubicBezTo>
                    <a:lnTo>
                      <a:pt x="47764" y="537"/>
                    </a:lnTo>
                    <a:cubicBezTo>
                      <a:pt x="50503" y="-832"/>
                      <a:pt x="53242" y="537"/>
                      <a:pt x="54611" y="3276"/>
                    </a:cubicBezTo>
                    <a:lnTo>
                      <a:pt x="59405" y="14918"/>
                    </a:lnTo>
                    <a:cubicBezTo>
                      <a:pt x="64883" y="14233"/>
                      <a:pt x="70362" y="14233"/>
                      <a:pt x="75840" y="14918"/>
                    </a:cubicBezTo>
                    <a:lnTo>
                      <a:pt x="80633" y="3276"/>
                    </a:lnTo>
                    <a:cubicBezTo>
                      <a:pt x="82003" y="537"/>
                      <a:pt x="84742" y="-147"/>
                      <a:pt x="87481" y="537"/>
                    </a:cubicBezTo>
                    <a:lnTo>
                      <a:pt x="101177" y="6700"/>
                    </a:lnTo>
                    <a:cubicBezTo>
                      <a:pt x="103916" y="8070"/>
                      <a:pt x="104601" y="10809"/>
                      <a:pt x="103916" y="13548"/>
                    </a:cubicBezTo>
                    <a:lnTo>
                      <a:pt x="99122" y="25189"/>
                    </a:lnTo>
                    <a:cubicBezTo>
                      <a:pt x="103231" y="28613"/>
                      <a:pt x="107340" y="32722"/>
                      <a:pt x="110079" y="37516"/>
                    </a:cubicBezTo>
                    <a:lnTo>
                      <a:pt x="121720" y="33407"/>
                    </a:lnTo>
                    <a:cubicBezTo>
                      <a:pt x="124459" y="32722"/>
                      <a:pt x="127198" y="34092"/>
                      <a:pt x="128568" y="36831"/>
                    </a:cubicBezTo>
                    <a:lnTo>
                      <a:pt x="133361" y="50526"/>
                    </a:lnTo>
                    <a:cubicBezTo>
                      <a:pt x="134046" y="51896"/>
                      <a:pt x="134046" y="53266"/>
                      <a:pt x="133361" y="54635"/>
                    </a:cubicBezTo>
                    <a:cubicBezTo>
                      <a:pt x="132677" y="56005"/>
                      <a:pt x="131992" y="56689"/>
                      <a:pt x="130622" y="57374"/>
                    </a:cubicBezTo>
                    <a:lnTo>
                      <a:pt x="118981" y="61483"/>
                    </a:lnTo>
                    <a:cubicBezTo>
                      <a:pt x="119666" y="66276"/>
                      <a:pt x="118981" y="71070"/>
                      <a:pt x="118296" y="75863"/>
                    </a:cubicBezTo>
                    <a:lnTo>
                      <a:pt x="129938" y="80657"/>
                    </a:lnTo>
                    <a:cubicBezTo>
                      <a:pt x="131307" y="81342"/>
                      <a:pt x="131992" y="82026"/>
                      <a:pt x="132677" y="83396"/>
                    </a:cubicBezTo>
                    <a:cubicBezTo>
                      <a:pt x="133361" y="84766"/>
                      <a:pt x="133361" y="86135"/>
                      <a:pt x="132677" y="87505"/>
                    </a:cubicBezTo>
                    <a:lnTo>
                      <a:pt x="126514" y="101200"/>
                    </a:lnTo>
                    <a:cubicBezTo>
                      <a:pt x="125144" y="103940"/>
                      <a:pt x="122405" y="104624"/>
                      <a:pt x="119666" y="103940"/>
                    </a:cubicBezTo>
                    <a:lnTo>
                      <a:pt x="108025" y="99146"/>
                    </a:lnTo>
                    <a:cubicBezTo>
                      <a:pt x="105285" y="103255"/>
                      <a:pt x="101861" y="105994"/>
                      <a:pt x="97753" y="109418"/>
                    </a:cubicBezTo>
                    <a:lnTo>
                      <a:pt x="102546" y="121059"/>
                    </a:lnTo>
                    <a:cubicBezTo>
                      <a:pt x="103231" y="122429"/>
                      <a:pt x="103231" y="123798"/>
                      <a:pt x="102546" y="125168"/>
                    </a:cubicBezTo>
                    <a:cubicBezTo>
                      <a:pt x="101861" y="126537"/>
                      <a:pt x="101177" y="127222"/>
                      <a:pt x="99807" y="127907"/>
                    </a:cubicBezTo>
                    <a:lnTo>
                      <a:pt x="86111" y="133385"/>
                    </a:lnTo>
                    <a:cubicBezTo>
                      <a:pt x="85427" y="134755"/>
                      <a:pt x="84742" y="134755"/>
                      <a:pt x="84057" y="134755"/>
                    </a:cubicBezTo>
                    <a:close/>
                    <a:moveTo>
                      <a:pt x="77894" y="109418"/>
                    </a:moveTo>
                    <a:cubicBezTo>
                      <a:pt x="79948" y="109418"/>
                      <a:pt x="82003" y="110787"/>
                      <a:pt x="82688" y="112842"/>
                    </a:cubicBezTo>
                    <a:lnTo>
                      <a:pt x="86796" y="123113"/>
                    </a:lnTo>
                    <a:lnTo>
                      <a:pt x="90905" y="121744"/>
                    </a:lnTo>
                    <a:lnTo>
                      <a:pt x="86796" y="111472"/>
                    </a:lnTo>
                    <a:cubicBezTo>
                      <a:pt x="86111" y="109418"/>
                      <a:pt x="86796" y="106679"/>
                      <a:pt x="88851" y="105309"/>
                    </a:cubicBezTo>
                    <a:cubicBezTo>
                      <a:pt x="94329" y="101885"/>
                      <a:pt x="98438" y="97776"/>
                      <a:pt x="101861" y="92298"/>
                    </a:cubicBezTo>
                    <a:cubicBezTo>
                      <a:pt x="103231" y="90244"/>
                      <a:pt x="105970" y="89559"/>
                      <a:pt x="108025" y="90244"/>
                    </a:cubicBezTo>
                    <a:lnTo>
                      <a:pt x="118296" y="95037"/>
                    </a:lnTo>
                    <a:lnTo>
                      <a:pt x="120351" y="90929"/>
                    </a:lnTo>
                    <a:lnTo>
                      <a:pt x="110079" y="86135"/>
                    </a:lnTo>
                    <a:cubicBezTo>
                      <a:pt x="108025" y="84766"/>
                      <a:pt x="106655" y="82711"/>
                      <a:pt x="107340" y="79972"/>
                    </a:cubicBezTo>
                    <a:cubicBezTo>
                      <a:pt x="108709" y="73809"/>
                      <a:pt x="109394" y="67646"/>
                      <a:pt x="108025" y="61483"/>
                    </a:cubicBezTo>
                    <a:cubicBezTo>
                      <a:pt x="107340" y="58744"/>
                      <a:pt x="108709" y="56689"/>
                      <a:pt x="111449" y="56005"/>
                    </a:cubicBezTo>
                    <a:lnTo>
                      <a:pt x="122405" y="51896"/>
                    </a:lnTo>
                    <a:lnTo>
                      <a:pt x="121035" y="47787"/>
                    </a:lnTo>
                    <a:lnTo>
                      <a:pt x="110079" y="51896"/>
                    </a:lnTo>
                    <a:cubicBezTo>
                      <a:pt x="108025" y="52581"/>
                      <a:pt x="105285" y="51896"/>
                      <a:pt x="103916" y="49842"/>
                    </a:cubicBezTo>
                    <a:cubicBezTo>
                      <a:pt x="100492" y="43679"/>
                      <a:pt x="95698" y="38885"/>
                      <a:pt x="90220" y="34776"/>
                    </a:cubicBezTo>
                    <a:cubicBezTo>
                      <a:pt x="88166" y="33407"/>
                      <a:pt x="87481" y="30668"/>
                      <a:pt x="88166" y="28613"/>
                    </a:cubicBezTo>
                    <a:lnTo>
                      <a:pt x="92959" y="18342"/>
                    </a:lnTo>
                    <a:lnTo>
                      <a:pt x="88851" y="16287"/>
                    </a:lnTo>
                    <a:lnTo>
                      <a:pt x="84057" y="26559"/>
                    </a:lnTo>
                    <a:cubicBezTo>
                      <a:pt x="82688" y="28613"/>
                      <a:pt x="80633" y="29983"/>
                      <a:pt x="77894" y="29298"/>
                    </a:cubicBezTo>
                    <a:cubicBezTo>
                      <a:pt x="71046" y="27244"/>
                      <a:pt x="64198" y="27244"/>
                      <a:pt x="58035" y="29298"/>
                    </a:cubicBezTo>
                    <a:cubicBezTo>
                      <a:pt x="55296" y="29983"/>
                      <a:pt x="53242" y="28613"/>
                      <a:pt x="51872" y="26559"/>
                    </a:cubicBezTo>
                    <a:lnTo>
                      <a:pt x="47764" y="16287"/>
                    </a:lnTo>
                    <a:lnTo>
                      <a:pt x="43655" y="17657"/>
                    </a:lnTo>
                    <a:lnTo>
                      <a:pt x="47764" y="27929"/>
                    </a:lnTo>
                    <a:cubicBezTo>
                      <a:pt x="48448" y="29983"/>
                      <a:pt x="47764" y="32722"/>
                      <a:pt x="45709" y="34092"/>
                    </a:cubicBezTo>
                    <a:cubicBezTo>
                      <a:pt x="40231" y="37516"/>
                      <a:pt x="36122" y="41624"/>
                      <a:pt x="32699" y="47103"/>
                    </a:cubicBezTo>
                    <a:cubicBezTo>
                      <a:pt x="31329" y="49157"/>
                      <a:pt x="28590" y="49842"/>
                      <a:pt x="26535" y="49157"/>
                    </a:cubicBezTo>
                    <a:lnTo>
                      <a:pt x="16264" y="44363"/>
                    </a:lnTo>
                    <a:lnTo>
                      <a:pt x="14209" y="48472"/>
                    </a:lnTo>
                    <a:lnTo>
                      <a:pt x="24481" y="53266"/>
                    </a:lnTo>
                    <a:cubicBezTo>
                      <a:pt x="26535" y="54635"/>
                      <a:pt x="27905" y="56689"/>
                      <a:pt x="27220" y="59429"/>
                    </a:cubicBezTo>
                    <a:cubicBezTo>
                      <a:pt x="25851" y="65592"/>
                      <a:pt x="25166" y="71755"/>
                      <a:pt x="26535" y="77918"/>
                    </a:cubicBezTo>
                    <a:cubicBezTo>
                      <a:pt x="27220" y="80657"/>
                      <a:pt x="25851" y="82711"/>
                      <a:pt x="23111" y="83396"/>
                    </a:cubicBezTo>
                    <a:lnTo>
                      <a:pt x="12155" y="87505"/>
                    </a:lnTo>
                    <a:lnTo>
                      <a:pt x="13524" y="91613"/>
                    </a:lnTo>
                    <a:lnTo>
                      <a:pt x="24481" y="87505"/>
                    </a:lnTo>
                    <a:cubicBezTo>
                      <a:pt x="26535" y="86820"/>
                      <a:pt x="29275" y="87505"/>
                      <a:pt x="30644" y="89559"/>
                    </a:cubicBezTo>
                    <a:cubicBezTo>
                      <a:pt x="34068" y="95722"/>
                      <a:pt x="38862" y="100516"/>
                      <a:pt x="44340" y="104624"/>
                    </a:cubicBezTo>
                    <a:cubicBezTo>
                      <a:pt x="46394" y="105994"/>
                      <a:pt x="47079" y="108733"/>
                      <a:pt x="46394" y="110787"/>
                    </a:cubicBezTo>
                    <a:lnTo>
                      <a:pt x="41601" y="121059"/>
                    </a:lnTo>
                    <a:lnTo>
                      <a:pt x="45709" y="123113"/>
                    </a:lnTo>
                    <a:lnTo>
                      <a:pt x="50503" y="112842"/>
                    </a:lnTo>
                    <a:cubicBezTo>
                      <a:pt x="51872" y="110787"/>
                      <a:pt x="53927" y="109418"/>
                      <a:pt x="56666" y="110103"/>
                    </a:cubicBezTo>
                    <a:cubicBezTo>
                      <a:pt x="63514" y="112157"/>
                      <a:pt x="70362" y="112157"/>
                      <a:pt x="76525" y="110103"/>
                    </a:cubicBezTo>
                    <a:cubicBezTo>
                      <a:pt x="77209" y="109418"/>
                      <a:pt x="77209" y="109418"/>
                      <a:pt x="77894" y="109418"/>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1" name="Freeform: Shape 40">
                <a:extLst>
                  <a:ext uri="{FF2B5EF4-FFF2-40B4-BE49-F238E27FC236}">
                    <a16:creationId xmlns:a16="http://schemas.microsoft.com/office/drawing/2014/main" id="{3940A164-4C2F-3D8F-58DE-4AE2F02FDACD}"/>
                  </a:ext>
                </a:extLst>
              </p:cNvPr>
              <p:cNvSpPr/>
              <p:nvPr/>
            </p:nvSpPr>
            <p:spPr>
              <a:xfrm>
                <a:off x="555073" y="3105386"/>
                <a:ext cx="411725" cy="81950"/>
              </a:xfrm>
              <a:custGeom>
                <a:avLst/>
                <a:gdLst>
                  <a:gd name="connsiteX0" fmla="*/ 417033 w 417717"/>
                  <a:gd name="connsiteY0" fmla="*/ 85598 h 82173"/>
                  <a:gd name="connsiteX1" fmla="*/ 411555 w 417717"/>
                  <a:gd name="connsiteY1" fmla="*/ 80120 h 82173"/>
                  <a:gd name="connsiteX2" fmla="*/ 411555 w 417717"/>
                  <a:gd name="connsiteY2" fmla="*/ 10272 h 82173"/>
                  <a:gd name="connsiteX3" fmla="*/ 10957 w 417717"/>
                  <a:gd name="connsiteY3" fmla="*/ 10272 h 82173"/>
                  <a:gd name="connsiteX4" fmla="*/ 10957 w 417717"/>
                  <a:gd name="connsiteY4" fmla="*/ 80804 h 82173"/>
                  <a:gd name="connsiteX5" fmla="*/ 5478 w 417717"/>
                  <a:gd name="connsiteY5" fmla="*/ 86283 h 82173"/>
                  <a:gd name="connsiteX6" fmla="*/ 0 w 417717"/>
                  <a:gd name="connsiteY6" fmla="*/ 80804 h 82173"/>
                  <a:gd name="connsiteX7" fmla="*/ 0 w 417717"/>
                  <a:gd name="connsiteY7" fmla="*/ 5478 h 82173"/>
                  <a:gd name="connsiteX8" fmla="*/ 5478 w 417717"/>
                  <a:gd name="connsiteY8" fmla="*/ 0 h 82173"/>
                  <a:gd name="connsiteX9" fmla="*/ 416348 w 417717"/>
                  <a:gd name="connsiteY9" fmla="*/ 0 h 82173"/>
                  <a:gd name="connsiteX10" fmla="*/ 421826 w 417717"/>
                  <a:gd name="connsiteY10" fmla="*/ 5478 h 82173"/>
                  <a:gd name="connsiteX11" fmla="*/ 421826 w 417717"/>
                  <a:gd name="connsiteY11" fmla="*/ 80804 h 82173"/>
                  <a:gd name="connsiteX12" fmla="*/ 417033 w 417717"/>
                  <a:gd name="connsiteY12" fmla="*/ 85598 h 8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7717" h="82173">
                    <a:moveTo>
                      <a:pt x="417033" y="85598"/>
                    </a:moveTo>
                    <a:cubicBezTo>
                      <a:pt x="414294" y="85598"/>
                      <a:pt x="411555" y="83544"/>
                      <a:pt x="411555" y="80120"/>
                    </a:cubicBezTo>
                    <a:lnTo>
                      <a:pt x="411555" y="10272"/>
                    </a:lnTo>
                    <a:lnTo>
                      <a:pt x="10957" y="10272"/>
                    </a:lnTo>
                    <a:lnTo>
                      <a:pt x="10957" y="80804"/>
                    </a:lnTo>
                    <a:cubicBezTo>
                      <a:pt x="10957" y="83544"/>
                      <a:pt x="8902" y="86283"/>
                      <a:pt x="5478" y="86283"/>
                    </a:cubicBezTo>
                    <a:cubicBezTo>
                      <a:pt x="2054" y="86283"/>
                      <a:pt x="0" y="84228"/>
                      <a:pt x="0" y="80804"/>
                    </a:cubicBezTo>
                    <a:lnTo>
                      <a:pt x="0" y="5478"/>
                    </a:lnTo>
                    <a:cubicBezTo>
                      <a:pt x="0" y="2739"/>
                      <a:pt x="2054" y="0"/>
                      <a:pt x="5478" y="0"/>
                    </a:cubicBezTo>
                    <a:lnTo>
                      <a:pt x="416348" y="0"/>
                    </a:lnTo>
                    <a:cubicBezTo>
                      <a:pt x="419087" y="0"/>
                      <a:pt x="421826" y="2054"/>
                      <a:pt x="421826" y="5478"/>
                    </a:cubicBezTo>
                    <a:lnTo>
                      <a:pt x="421826" y="80804"/>
                    </a:lnTo>
                    <a:cubicBezTo>
                      <a:pt x="422511" y="83544"/>
                      <a:pt x="419772" y="85598"/>
                      <a:pt x="417033" y="85598"/>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2" name="Freeform: Shape 41">
                <a:extLst>
                  <a:ext uri="{FF2B5EF4-FFF2-40B4-BE49-F238E27FC236}">
                    <a16:creationId xmlns:a16="http://schemas.microsoft.com/office/drawing/2014/main" id="{EC216580-CEA9-6A40-0A79-03B87C9A18D8}"/>
                  </a:ext>
                </a:extLst>
              </p:cNvPr>
              <p:cNvSpPr/>
              <p:nvPr/>
            </p:nvSpPr>
            <p:spPr>
              <a:xfrm>
                <a:off x="758236" y="3077386"/>
                <a:ext cx="6749" cy="75121"/>
              </a:xfrm>
              <a:custGeom>
                <a:avLst/>
                <a:gdLst>
                  <a:gd name="connsiteX0" fmla="*/ 5478 w 6847"/>
                  <a:gd name="connsiteY0" fmla="*/ 79435 h 75326"/>
                  <a:gd name="connsiteX1" fmla="*/ 0 w 6847"/>
                  <a:gd name="connsiteY1" fmla="*/ 73957 h 75326"/>
                  <a:gd name="connsiteX2" fmla="*/ 0 w 6847"/>
                  <a:gd name="connsiteY2" fmla="*/ 5478 h 75326"/>
                  <a:gd name="connsiteX3" fmla="*/ 5478 w 6847"/>
                  <a:gd name="connsiteY3" fmla="*/ 0 h 75326"/>
                  <a:gd name="connsiteX4" fmla="*/ 10956 w 6847"/>
                  <a:gd name="connsiteY4" fmla="*/ 5478 h 75326"/>
                  <a:gd name="connsiteX5" fmla="*/ 10956 w 6847"/>
                  <a:gd name="connsiteY5" fmla="*/ 73957 h 75326"/>
                  <a:gd name="connsiteX6" fmla="*/ 5478 w 6847"/>
                  <a:gd name="connsiteY6" fmla="*/ 79435 h 7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7" h="75326">
                    <a:moveTo>
                      <a:pt x="5478" y="79435"/>
                    </a:moveTo>
                    <a:cubicBezTo>
                      <a:pt x="2739" y="79435"/>
                      <a:pt x="0" y="77380"/>
                      <a:pt x="0" y="73957"/>
                    </a:cubicBezTo>
                    <a:lnTo>
                      <a:pt x="0" y="5478"/>
                    </a:lnTo>
                    <a:cubicBezTo>
                      <a:pt x="0" y="2739"/>
                      <a:pt x="2054" y="0"/>
                      <a:pt x="5478" y="0"/>
                    </a:cubicBezTo>
                    <a:cubicBezTo>
                      <a:pt x="8902" y="0"/>
                      <a:pt x="10956" y="2054"/>
                      <a:pt x="10956" y="5478"/>
                    </a:cubicBezTo>
                    <a:lnTo>
                      <a:pt x="10956" y="73957"/>
                    </a:lnTo>
                    <a:cubicBezTo>
                      <a:pt x="10956" y="77380"/>
                      <a:pt x="8217" y="79435"/>
                      <a:pt x="5478" y="79435"/>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3" name="Freeform: Shape 42">
                <a:extLst>
                  <a:ext uri="{FF2B5EF4-FFF2-40B4-BE49-F238E27FC236}">
                    <a16:creationId xmlns:a16="http://schemas.microsoft.com/office/drawing/2014/main" id="{E9673132-D606-668E-586C-B28B75C98236}"/>
                  </a:ext>
                </a:extLst>
              </p:cNvPr>
              <p:cNvSpPr/>
              <p:nvPr/>
            </p:nvSpPr>
            <p:spPr>
              <a:xfrm>
                <a:off x="699683" y="3192264"/>
                <a:ext cx="128243" cy="129755"/>
              </a:xfrm>
              <a:custGeom>
                <a:avLst/>
                <a:gdLst>
                  <a:gd name="connsiteX0" fmla="*/ 84057 w 130108"/>
                  <a:gd name="connsiteY0" fmla="*/ 134755 h 130108"/>
                  <a:gd name="connsiteX1" fmla="*/ 82003 w 130108"/>
                  <a:gd name="connsiteY1" fmla="*/ 134070 h 130108"/>
                  <a:gd name="connsiteX2" fmla="*/ 79264 w 130108"/>
                  <a:gd name="connsiteY2" fmla="*/ 131331 h 130108"/>
                  <a:gd name="connsiteX3" fmla="*/ 74470 w 130108"/>
                  <a:gd name="connsiteY3" fmla="*/ 119690 h 130108"/>
                  <a:gd name="connsiteX4" fmla="*/ 58035 w 130108"/>
                  <a:gd name="connsiteY4" fmla="*/ 119690 h 130108"/>
                  <a:gd name="connsiteX5" fmla="*/ 53242 w 130108"/>
                  <a:gd name="connsiteY5" fmla="*/ 130646 h 130108"/>
                  <a:gd name="connsiteX6" fmla="*/ 46394 w 130108"/>
                  <a:gd name="connsiteY6" fmla="*/ 133385 h 130108"/>
                  <a:gd name="connsiteX7" fmla="*/ 32698 w 130108"/>
                  <a:gd name="connsiteY7" fmla="*/ 127222 h 130108"/>
                  <a:gd name="connsiteX8" fmla="*/ 29959 w 130108"/>
                  <a:gd name="connsiteY8" fmla="*/ 124483 h 130108"/>
                  <a:gd name="connsiteX9" fmla="*/ 29959 w 130108"/>
                  <a:gd name="connsiteY9" fmla="*/ 120374 h 130108"/>
                  <a:gd name="connsiteX10" fmla="*/ 34753 w 130108"/>
                  <a:gd name="connsiteY10" fmla="*/ 108733 h 130108"/>
                  <a:gd name="connsiteX11" fmla="*/ 23796 w 130108"/>
                  <a:gd name="connsiteY11" fmla="*/ 96407 h 130108"/>
                  <a:gd name="connsiteX12" fmla="*/ 12155 w 130108"/>
                  <a:gd name="connsiteY12" fmla="*/ 100516 h 130108"/>
                  <a:gd name="connsiteX13" fmla="*/ 5307 w 130108"/>
                  <a:gd name="connsiteY13" fmla="*/ 97092 h 130108"/>
                  <a:gd name="connsiteX14" fmla="*/ 514 w 130108"/>
                  <a:gd name="connsiteY14" fmla="*/ 83396 h 130108"/>
                  <a:gd name="connsiteX15" fmla="*/ 514 w 130108"/>
                  <a:gd name="connsiteY15" fmla="*/ 79287 h 130108"/>
                  <a:gd name="connsiteX16" fmla="*/ 3253 w 130108"/>
                  <a:gd name="connsiteY16" fmla="*/ 76548 h 130108"/>
                  <a:gd name="connsiteX17" fmla="*/ 14894 w 130108"/>
                  <a:gd name="connsiteY17" fmla="*/ 72440 h 130108"/>
                  <a:gd name="connsiteX18" fmla="*/ 15579 w 130108"/>
                  <a:gd name="connsiteY18" fmla="*/ 58059 h 130108"/>
                  <a:gd name="connsiteX19" fmla="*/ 3938 w 130108"/>
                  <a:gd name="connsiteY19" fmla="*/ 53266 h 130108"/>
                  <a:gd name="connsiteX20" fmla="*/ 1198 w 130108"/>
                  <a:gd name="connsiteY20" fmla="*/ 46418 h 130108"/>
                  <a:gd name="connsiteX21" fmla="*/ 7361 w 130108"/>
                  <a:gd name="connsiteY21" fmla="*/ 32722 h 130108"/>
                  <a:gd name="connsiteX22" fmla="*/ 10101 w 130108"/>
                  <a:gd name="connsiteY22" fmla="*/ 29983 h 130108"/>
                  <a:gd name="connsiteX23" fmla="*/ 14209 w 130108"/>
                  <a:gd name="connsiteY23" fmla="*/ 29983 h 130108"/>
                  <a:gd name="connsiteX24" fmla="*/ 25850 w 130108"/>
                  <a:gd name="connsiteY24" fmla="*/ 34776 h 130108"/>
                  <a:gd name="connsiteX25" fmla="*/ 36122 w 130108"/>
                  <a:gd name="connsiteY25" fmla="*/ 24505 h 130108"/>
                  <a:gd name="connsiteX26" fmla="*/ 31329 w 130108"/>
                  <a:gd name="connsiteY26" fmla="*/ 12863 h 130108"/>
                  <a:gd name="connsiteX27" fmla="*/ 31329 w 130108"/>
                  <a:gd name="connsiteY27" fmla="*/ 8755 h 130108"/>
                  <a:gd name="connsiteX28" fmla="*/ 34068 w 130108"/>
                  <a:gd name="connsiteY28" fmla="*/ 6016 h 130108"/>
                  <a:gd name="connsiteX29" fmla="*/ 47764 w 130108"/>
                  <a:gd name="connsiteY29" fmla="*/ 537 h 130108"/>
                  <a:gd name="connsiteX30" fmla="*/ 54611 w 130108"/>
                  <a:gd name="connsiteY30" fmla="*/ 3276 h 130108"/>
                  <a:gd name="connsiteX31" fmla="*/ 59405 w 130108"/>
                  <a:gd name="connsiteY31" fmla="*/ 14918 h 130108"/>
                  <a:gd name="connsiteX32" fmla="*/ 75840 w 130108"/>
                  <a:gd name="connsiteY32" fmla="*/ 14918 h 130108"/>
                  <a:gd name="connsiteX33" fmla="*/ 80633 w 130108"/>
                  <a:gd name="connsiteY33" fmla="*/ 3276 h 130108"/>
                  <a:gd name="connsiteX34" fmla="*/ 87481 w 130108"/>
                  <a:gd name="connsiteY34" fmla="*/ 537 h 130108"/>
                  <a:gd name="connsiteX35" fmla="*/ 101177 w 130108"/>
                  <a:gd name="connsiteY35" fmla="*/ 6700 h 130108"/>
                  <a:gd name="connsiteX36" fmla="*/ 103916 w 130108"/>
                  <a:gd name="connsiteY36" fmla="*/ 13548 h 130108"/>
                  <a:gd name="connsiteX37" fmla="*/ 99122 w 130108"/>
                  <a:gd name="connsiteY37" fmla="*/ 25189 h 130108"/>
                  <a:gd name="connsiteX38" fmla="*/ 110079 w 130108"/>
                  <a:gd name="connsiteY38" fmla="*/ 37516 h 130108"/>
                  <a:gd name="connsiteX39" fmla="*/ 121720 w 130108"/>
                  <a:gd name="connsiteY39" fmla="*/ 33407 h 130108"/>
                  <a:gd name="connsiteX40" fmla="*/ 128568 w 130108"/>
                  <a:gd name="connsiteY40" fmla="*/ 36831 h 130108"/>
                  <a:gd name="connsiteX41" fmla="*/ 133361 w 130108"/>
                  <a:gd name="connsiteY41" fmla="*/ 50526 h 130108"/>
                  <a:gd name="connsiteX42" fmla="*/ 133361 w 130108"/>
                  <a:gd name="connsiteY42" fmla="*/ 54635 h 130108"/>
                  <a:gd name="connsiteX43" fmla="*/ 130622 w 130108"/>
                  <a:gd name="connsiteY43" fmla="*/ 57374 h 130108"/>
                  <a:gd name="connsiteX44" fmla="*/ 118981 w 130108"/>
                  <a:gd name="connsiteY44" fmla="*/ 61483 h 130108"/>
                  <a:gd name="connsiteX45" fmla="*/ 118296 w 130108"/>
                  <a:gd name="connsiteY45" fmla="*/ 75863 h 130108"/>
                  <a:gd name="connsiteX46" fmla="*/ 129938 w 130108"/>
                  <a:gd name="connsiteY46" fmla="*/ 80657 h 130108"/>
                  <a:gd name="connsiteX47" fmla="*/ 132677 w 130108"/>
                  <a:gd name="connsiteY47" fmla="*/ 83396 h 130108"/>
                  <a:gd name="connsiteX48" fmla="*/ 132677 w 130108"/>
                  <a:gd name="connsiteY48" fmla="*/ 87505 h 130108"/>
                  <a:gd name="connsiteX49" fmla="*/ 126514 w 130108"/>
                  <a:gd name="connsiteY49" fmla="*/ 101200 h 130108"/>
                  <a:gd name="connsiteX50" fmla="*/ 119666 w 130108"/>
                  <a:gd name="connsiteY50" fmla="*/ 103940 h 130108"/>
                  <a:gd name="connsiteX51" fmla="*/ 108024 w 130108"/>
                  <a:gd name="connsiteY51" fmla="*/ 99146 h 130108"/>
                  <a:gd name="connsiteX52" fmla="*/ 97753 w 130108"/>
                  <a:gd name="connsiteY52" fmla="*/ 109418 h 130108"/>
                  <a:gd name="connsiteX53" fmla="*/ 102546 w 130108"/>
                  <a:gd name="connsiteY53" fmla="*/ 121059 h 130108"/>
                  <a:gd name="connsiteX54" fmla="*/ 102546 w 130108"/>
                  <a:gd name="connsiteY54" fmla="*/ 125168 h 130108"/>
                  <a:gd name="connsiteX55" fmla="*/ 99807 w 130108"/>
                  <a:gd name="connsiteY55" fmla="*/ 127907 h 130108"/>
                  <a:gd name="connsiteX56" fmla="*/ 86111 w 130108"/>
                  <a:gd name="connsiteY56" fmla="*/ 133385 h 130108"/>
                  <a:gd name="connsiteX57" fmla="*/ 84057 w 130108"/>
                  <a:gd name="connsiteY57" fmla="*/ 134755 h 130108"/>
                  <a:gd name="connsiteX58" fmla="*/ 77894 w 130108"/>
                  <a:gd name="connsiteY58" fmla="*/ 108733 h 130108"/>
                  <a:gd name="connsiteX59" fmla="*/ 82688 w 130108"/>
                  <a:gd name="connsiteY59" fmla="*/ 112157 h 130108"/>
                  <a:gd name="connsiteX60" fmla="*/ 86796 w 130108"/>
                  <a:gd name="connsiteY60" fmla="*/ 122429 h 130108"/>
                  <a:gd name="connsiteX61" fmla="*/ 90905 w 130108"/>
                  <a:gd name="connsiteY61" fmla="*/ 121059 h 130108"/>
                  <a:gd name="connsiteX62" fmla="*/ 86796 w 130108"/>
                  <a:gd name="connsiteY62" fmla="*/ 110787 h 130108"/>
                  <a:gd name="connsiteX63" fmla="*/ 88851 w 130108"/>
                  <a:gd name="connsiteY63" fmla="*/ 104624 h 130108"/>
                  <a:gd name="connsiteX64" fmla="*/ 101861 w 130108"/>
                  <a:gd name="connsiteY64" fmla="*/ 91613 h 130108"/>
                  <a:gd name="connsiteX65" fmla="*/ 108024 w 130108"/>
                  <a:gd name="connsiteY65" fmla="*/ 89559 h 130108"/>
                  <a:gd name="connsiteX66" fmla="*/ 118296 w 130108"/>
                  <a:gd name="connsiteY66" fmla="*/ 94353 h 130108"/>
                  <a:gd name="connsiteX67" fmla="*/ 120351 w 130108"/>
                  <a:gd name="connsiteY67" fmla="*/ 90244 h 130108"/>
                  <a:gd name="connsiteX68" fmla="*/ 110079 w 130108"/>
                  <a:gd name="connsiteY68" fmla="*/ 85450 h 130108"/>
                  <a:gd name="connsiteX69" fmla="*/ 107340 w 130108"/>
                  <a:gd name="connsiteY69" fmla="*/ 79287 h 130108"/>
                  <a:gd name="connsiteX70" fmla="*/ 108024 w 130108"/>
                  <a:gd name="connsiteY70" fmla="*/ 60798 h 130108"/>
                  <a:gd name="connsiteX71" fmla="*/ 111448 w 130108"/>
                  <a:gd name="connsiteY71" fmla="*/ 55320 h 130108"/>
                  <a:gd name="connsiteX72" fmla="*/ 122405 w 130108"/>
                  <a:gd name="connsiteY72" fmla="*/ 51211 h 130108"/>
                  <a:gd name="connsiteX73" fmla="*/ 121035 w 130108"/>
                  <a:gd name="connsiteY73" fmla="*/ 47103 h 130108"/>
                  <a:gd name="connsiteX74" fmla="*/ 110079 w 130108"/>
                  <a:gd name="connsiteY74" fmla="*/ 51211 h 130108"/>
                  <a:gd name="connsiteX75" fmla="*/ 103916 w 130108"/>
                  <a:gd name="connsiteY75" fmla="*/ 49157 h 130108"/>
                  <a:gd name="connsiteX76" fmla="*/ 90220 w 130108"/>
                  <a:gd name="connsiteY76" fmla="*/ 34092 h 130108"/>
                  <a:gd name="connsiteX77" fmla="*/ 88166 w 130108"/>
                  <a:gd name="connsiteY77" fmla="*/ 27929 h 130108"/>
                  <a:gd name="connsiteX78" fmla="*/ 92959 w 130108"/>
                  <a:gd name="connsiteY78" fmla="*/ 17657 h 130108"/>
                  <a:gd name="connsiteX79" fmla="*/ 88851 w 130108"/>
                  <a:gd name="connsiteY79" fmla="*/ 14918 h 130108"/>
                  <a:gd name="connsiteX80" fmla="*/ 84057 w 130108"/>
                  <a:gd name="connsiteY80" fmla="*/ 25189 h 130108"/>
                  <a:gd name="connsiteX81" fmla="*/ 77894 w 130108"/>
                  <a:gd name="connsiteY81" fmla="*/ 27929 h 130108"/>
                  <a:gd name="connsiteX82" fmla="*/ 58035 w 130108"/>
                  <a:gd name="connsiteY82" fmla="*/ 27929 h 130108"/>
                  <a:gd name="connsiteX83" fmla="*/ 51872 w 130108"/>
                  <a:gd name="connsiteY83" fmla="*/ 25189 h 130108"/>
                  <a:gd name="connsiteX84" fmla="*/ 47764 w 130108"/>
                  <a:gd name="connsiteY84" fmla="*/ 14233 h 130108"/>
                  <a:gd name="connsiteX85" fmla="*/ 43655 w 130108"/>
                  <a:gd name="connsiteY85" fmla="*/ 15602 h 130108"/>
                  <a:gd name="connsiteX86" fmla="*/ 47764 w 130108"/>
                  <a:gd name="connsiteY86" fmla="*/ 25874 h 130108"/>
                  <a:gd name="connsiteX87" fmla="*/ 45709 w 130108"/>
                  <a:gd name="connsiteY87" fmla="*/ 32037 h 130108"/>
                  <a:gd name="connsiteX88" fmla="*/ 32698 w 130108"/>
                  <a:gd name="connsiteY88" fmla="*/ 45048 h 130108"/>
                  <a:gd name="connsiteX89" fmla="*/ 26535 w 130108"/>
                  <a:gd name="connsiteY89" fmla="*/ 47103 h 130108"/>
                  <a:gd name="connsiteX90" fmla="*/ 16264 w 130108"/>
                  <a:gd name="connsiteY90" fmla="*/ 42309 h 130108"/>
                  <a:gd name="connsiteX91" fmla="*/ 14209 w 130108"/>
                  <a:gd name="connsiteY91" fmla="*/ 46418 h 130108"/>
                  <a:gd name="connsiteX92" fmla="*/ 24481 w 130108"/>
                  <a:gd name="connsiteY92" fmla="*/ 51211 h 130108"/>
                  <a:gd name="connsiteX93" fmla="*/ 27220 w 130108"/>
                  <a:gd name="connsiteY93" fmla="*/ 57374 h 130108"/>
                  <a:gd name="connsiteX94" fmla="*/ 26535 w 130108"/>
                  <a:gd name="connsiteY94" fmla="*/ 75863 h 130108"/>
                  <a:gd name="connsiteX95" fmla="*/ 23111 w 130108"/>
                  <a:gd name="connsiteY95" fmla="*/ 81342 h 130108"/>
                  <a:gd name="connsiteX96" fmla="*/ 12155 w 130108"/>
                  <a:gd name="connsiteY96" fmla="*/ 85450 h 130108"/>
                  <a:gd name="connsiteX97" fmla="*/ 13524 w 130108"/>
                  <a:gd name="connsiteY97" fmla="*/ 90244 h 130108"/>
                  <a:gd name="connsiteX98" fmla="*/ 24481 w 130108"/>
                  <a:gd name="connsiteY98" fmla="*/ 86135 h 130108"/>
                  <a:gd name="connsiteX99" fmla="*/ 30644 w 130108"/>
                  <a:gd name="connsiteY99" fmla="*/ 88189 h 130108"/>
                  <a:gd name="connsiteX100" fmla="*/ 44340 w 130108"/>
                  <a:gd name="connsiteY100" fmla="*/ 103255 h 130108"/>
                  <a:gd name="connsiteX101" fmla="*/ 46394 w 130108"/>
                  <a:gd name="connsiteY101" fmla="*/ 109418 h 130108"/>
                  <a:gd name="connsiteX102" fmla="*/ 41601 w 130108"/>
                  <a:gd name="connsiteY102" fmla="*/ 119690 h 130108"/>
                  <a:gd name="connsiteX103" fmla="*/ 45709 w 130108"/>
                  <a:gd name="connsiteY103" fmla="*/ 121744 h 130108"/>
                  <a:gd name="connsiteX104" fmla="*/ 50503 w 130108"/>
                  <a:gd name="connsiteY104" fmla="*/ 111472 h 130108"/>
                  <a:gd name="connsiteX105" fmla="*/ 56666 w 130108"/>
                  <a:gd name="connsiteY105" fmla="*/ 108733 h 130108"/>
                  <a:gd name="connsiteX106" fmla="*/ 76525 w 130108"/>
                  <a:gd name="connsiteY106" fmla="*/ 108733 h 130108"/>
                  <a:gd name="connsiteX107" fmla="*/ 77894 w 130108"/>
                  <a:gd name="connsiteY107" fmla="*/ 108733 h 13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108" h="130108">
                    <a:moveTo>
                      <a:pt x="84057" y="134755"/>
                    </a:moveTo>
                    <a:cubicBezTo>
                      <a:pt x="83372" y="134755"/>
                      <a:pt x="82688" y="134755"/>
                      <a:pt x="82003" y="134070"/>
                    </a:cubicBezTo>
                    <a:cubicBezTo>
                      <a:pt x="80633" y="133385"/>
                      <a:pt x="79948" y="132700"/>
                      <a:pt x="79264" y="131331"/>
                    </a:cubicBezTo>
                    <a:lnTo>
                      <a:pt x="74470" y="119690"/>
                    </a:lnTo>
                    <a:cubicBezTo>
                      <a:pt x="68992" y="120374"/>
                      <a:pt x="63514" y="120374"/>
                      <a:pt x="58035" y="119690"/>
                    </a:cubicBezTo>
                    <a:lnTo>
                      <a:pt x="53242" y="130646"/>
                    </a:lnTo>
                    <a:cubicBezTo>
                      <a:pt x="51872" y="133385"/>
                      <a:pt x="49133" y="134070"/>
                      <a:pt x="46394" y="133385"/>
                    </a:cubicBezTo>
                    <a:lnTo>
                      <a:pt x="32698" y="127222"/>
                    </a:lnTo>
                    <a:cubicBezTo>
                      <a:pt x="31329" y="126537"/>
                      <a:pt x="30644" y="125853"/>
                      <a:pt x="29959" y="124483"/>
                    </a:cubicBezTo>
                    <a:cubicBezTo>
                      <a:pt x="29274" y="123113"/>
                      <a:pt x="29274" y="121744"/>
                      <a:pt x="29959" y="120374"/>
                    </a:cubicBezTo>
                    <a:lnTo>
                      <a:pt x="34753" y="108733"/>
                    </a:lnTo>
                    <a:cubicBezTo>
                      <a:pt x="30644" y="105309"/>
                      <a:pt x="26535" y="101200"/>
                      <a:pt x="23796" y="96407"/>
                    </a:cubicBezTo>
                    <a:lnTo>
                      <a:pt x="12155" y="100516"/>
                    </a:lnTo>
                    <a:cubicBezTo>
                      <a:pt x="9416" y="101200"/>
                      <a:pt x="6677" y="99831"/>
                      <a:pt x="5307" y="97092"/>
                    </a:cubicBezTo>
                    <a:lnTo>
                      <a:pt x="514" y="83396"/>
                    </a:lnTo>
                    <a:cubicBezTo>
                      <a:pt x="-171" y="82026"/>
                      <a:pt x="-171" y="80657"/>
                      <a:pt x="514" y="79287"/>
                    </a:cubicBezTo>
                    <a:cubicBezTo>
                      <a:pt x="1198" y="77918"/>
                      <a:pt x="1883" y="77233"/>
                      <a:pt x="3253" y="76548"/>
                    </a:cubicBezTo>
                    <a:lnTo>
                      <a:pt x="14894" y="72440"/>
                    </a:lnTo>
                    <a:cubicBezTo>
                      <a:pt x="14209" y="67646"/>
                      <a:pt x="14894" y="62853"/>
                      <a:pt x="15579" y="58059"/>
                    </a:cubicBezTo>
                    <a:lnTo>
                      <a:pt x="3938" y="53266"/>
                    </a:lnTo>
                    <a:cubicBezTo>
                      <a:pt x="1198" y="51896"/>
                      <a:pt x="514" y="49157"/>
                      <a:pt x="1198" y="46418"/>
                    </a:cubicBezTo>
                    <a:lnTo>
                      <a:pt x="7361" y="32722"/>
                    </a:lnTo>
                    <a:cubicBezTo>
                      <a:pt x="8046" y="31353"/>
                      <a:pt x="8731" y="30668"/>
                      <a:pt x="10101" y="29983"/>
                    </a:cubicBezTo>
                    <a:cubicBezTo>
                      <a:pt x="11470" y="29298"/>
                      <a:pt x="12840" y="29298"/>
                      <a:pt x="14209" y="29983"/>
                    </a:cubicBezTo>
                    <a:lnTo>
                      <a:pt x="25850" y="34776"/>
                    </a:lnTo>
                    <a:cubicBezTo>
                      <a:pt x="28590" y="30668"/>
                      <a:pt x="32014" y="27929"/>
                      <a:pt x="36122" y="24505"/>
                    </a:cubicBezTo>
                    <a:lnTo>
                      <a:pt x="31329" y="12863"/>
                    </a:lnTo>
                    <a:cubicBezTo>
                      <a:pt x="30644" y="11494"/>
                      <a:pt x="30644" y="10124"/>
                      <a:pt x="31329" y="8755"/>
                    </a:cubicBezTo>
                    <a:cubicBezTo>
                      <a:pt x="32014" y="7385"/>
                      <a:pt x="32698" y="6700"/>
                      <a:pt x="34068" y="6016"/>
                    </a:cubicBezTo>
                    <a:lnTo>
                      <a:pt x="47764" y="537"/>
                    </a:lnTo>
                    <a:cubicBezTo>
                      <a:pt x="50503" y="-832"/>
                      <a:pt x="53242" y="537"/>
                      <a:pt x="54611" y="3276"/>
                    </a:cubicBezTo>
                    <a:lnTo>
                      <a:pt x="59405" y="14918"/>
                    </a:lnTo>
                    <a:cubicBezTo>
                      <a:pt x="64883" y="14233"/>
                      <a:pt x="70361" y="14233"/>
                      <a:pt x="75840" y="14918"/>
                    </a:cubicBezTo>
                    <a:lnTo>
                      <a:pt x="80633" y="3276"/>
                    </a:lnTo>
                    <a:cubicBezTo>
                      <a:pt x="82003" y="537"/>
                      <a:pt x="84742" y="-148"/>
                      <a:pt x="87481" y="537"/>
                    </a:cubicBezTo>
                    <a:lnTo>
                      <a:pt x="101177" y="6700"/>
                    </a:lnTo>
                    <a:cubicBezTo>
                      <a:pt x="103916" y="8070"/>
                      <a:pt x="104601" y="10809"/>
                      <a:pt x="103916" y="13548"/>
                    </a:cubicBezTo>
                    <a:lnTo>
                      <a:pt x="99122" y="25189"/>
                    </a:lnTo>
                    <a:cubicBezTo>
                      <a:pt x="103231" y="28613"/>
                      <a:pt x="107340" y="32722"/>
                      <a:pt x="110079" y="37516"/>
                    </a:cubicBezTo>
                    <a:lnTo>
                      <a:pt x="121720" y="33407"/>
                    </a:lnTo>
                    <a:cubicBezTo>
                      <a:pt x="124459" y="32722"/>
                      <a:pt x="127198" y="34092"/>
                      <a:pt x="128568" y="36831"/>
                    </a:cubicBezTo>
                    <a:lnTo>
                      <a:pt x="133361" y="50526"/>
                    </a:lnTo>
                    <a:cubicBezTo>
                      <a:pt x="134046" y="51896"/>
                      <a:pt x="134046" y="53266"/>
                      <a:pt x="133361" y="54635"/>
                    </a:cubicBezTo>
                    <a:cubicBezTo>
                      <a:pt x="132677" y="56005"/>
                      <a:pt x="131992" y="56689"/>
                      <a:pt x="130622" y="57374"/>
                    </a:cubicBezTo>
                    <a:lnTo>
                      <a:pt x="118981" y="61483"/>
                    </a:lnTo>
                    <a:cubicBezTo>
                      <a:pt x="119666" y="66276"/>
                      <a:pt x="118981" y="71070"/>
                      <a:pt x="118296" y="75863"/>
                    </a:cubicBezTo>
                    <a:lnTo>
                      <a:pt x="129938" y="80657"/>
                    </a:lnTo>
                    <a:cubicBezTo>
                      <a:pt x="131307" y="81342"/>
                      <a:pt x="131992" y="82026"/>
                      <a:pt x="132677" y="83396"/>
                    </a:cubicBezTo>
                    <a:cubicBezTo>
                      <a:pt x="133361" y="84766"/>
                      <a:pt x="133361" y="86135"/>
                      <a:pt x="132677" y="87505"/>
                    </a:cubicBezTo>
                    <a:lnTo>
                      <a:pt x="126514" y="101200"/>
                    </a:lnTo>
                    <a:cubicBezTo>
                      <a:pt x="125144" y="103940"/>
                      <a:pt x="122405" y="104624"/>
                      <a:pt x="119666" y="103940"/>
                    </a:cubicBezTo>
                    <a:lnTo>
                      <a:pt x="108024" y="99146"/>
                    </a:lnTo>
                    <a:cubicBezTo>
                      <a:pt x="105285" y="103255"/>
                      <a:pt x="101861" y="105994"/>
                      <a:pt x="97753" y="109418"/>
                    </a:cubicBezTo>
                    <a:lnTo>
                      <a:pt x="102546" y="121059"/>
                    </a:lnTo>
                    <a:cubicBezTo>
                      <a:pt x="103231" y="122429"/>
                      <a:pt x="103231" y="123798"/>
                      <a:pt x="102546" y="125168"/>
                    </a:cubicBezTo>
                    <a:cubicBezTo>
                      <a:pt x="101861" y="126537"/>
                      <a:pt x="101177" y="127222"/>
                      <a:pt x="99807" y="127907"/>
                    </a:cubicBezTo>
                    <a:lnTo>
                      <a:pt x="86111" y="133385"/>
                    </a:lnTo>
                    <a:cubicBezTo>
                      <a:pt x="85427" y="134755"/>
                      <a:pt x="84742" y="134755"/>
                      <a:pt x="84057" y="134755"/>
                    </a:cubicBezTo>
                    <a:close/>
                    <a:moveTo>
                      <a:pt x="77894" y="108733"/>
                    </a:moveTo>
                    <a:cubicBezTo>
                      <a:pt x="79948" y="108733"/>
                      <a:pt x="82003" y="110103"/>
                      <a:pt x="82688" y="112157"/>
                    </a:cubicBezTo>
                    <a:lnTo>
                      <a:pt x="86796" y="122429"/>
                    </a:lnTo>
                    <a:lnTo>
                      <a:pt x="90905" y="121059"/>
                    </a:lnTo>
                    <a:lnTo>
                      <a:pt x="86796" y="110787"/>
                    </a:lnTo>
                    <a:cubicBezTo>
                      <a:pt x="86111" y="108733"/>
                      <a:pt x="86796" y="105994"/>
                      <a:pt x="88851" y="104624"/>
                    </a:cubicBezTo>
                    <a:cubicBezTo>
                      <a:pt x="94329" y="101200"/>
                      <a:pt x="98438" y="97092"/>
                      <a:pt x="101861" y="91613"/>
                    </a:cubicBezTo>
                    <a:cubicBezTo>
                      <a:pt x="103231" y="89559"/>
                      <a:pt x="105970" y="88874"/>
                      <a:pt x="108024" y="89559"/>
                    </a:cubicBezTo>
                    <a:lnTo>
                      <a:pt x="118296" y="94353"/>
                    </a:lnTo>
                    <a:lnTo>
                      <a:pt x="120351" y="90244"/>
                    </a:lnTo>
                    <a:lnTo>
                      <a:pt x="110079" y="85450"/>
                    </a:lnTo>
                    <a:cubicBezTo>
                      <a:pt x="108024" y="84081"/>
                      <a:pt x="106655" y="82026"/>
                      <a:pt x="107340" y="79287"/>
                    </a:cubicBezTo>
                    <a:cubicBezTo>
                      <a:pt x="108709" y="73124"/>
                      <a:pt x="109394" y="66961"/>
                      <a:pt x="108024" y="60798"/>
                    </a:cubicBezTo>
                    <a:cubicBezTo>
                      <a:pt x="107340" y="58059"/>
                      <a:pt x="108709" y="56005"/>
                      <a:pt x="111448" y="55320"/>
                    </a:cubicBezTo>
                    <a:lnTo>
                      <a:pt x="122405" y="51211"/>
                    </a:lnTo>
                    <a:lnTo>
                      <a:pt x="121035" y="47103"/>
                    </a:lnTo>
                    <a:lnTo>
                      <a:pt x="110079" y="51211"/>
                    </a:lnTo>
                    <a:cubicBezTo>
                      <a:pt x="108024" y="51896"/>
                      <a:pt x="105285" y="51211"/>
                      <a:pt x="103916" y="49157"/>
                    </a:cubicBezTo>
                    <a:cubicBezTo>
                      <a:pt x="100492" y="42994"/>
                      <a:pt x="95698" y="38200"/>
                      <a:pt x="90220" y="34092"/>
                    </a:cubicBezTo>
                    <a:cubicBezTo>
                      <a:pt x="88166" y="32722"/>
                      <a:pt x="87481" y="29983"/>
                      <a:pt x="88166" y="27929"/>
                    </a:cubicBezTo>
                    <a:lnTo>
                      <a:pt x="92959" y="17657"/>
                    </a:lnTo>
                    <a:lnTo>
                      <a:pt x="88851" y="14918"/>
                    </a:lnTo>
                    <a:lnTo>
                      <a:pt x="84057" y="25189"/>
                    </a:lnTo>
                    <a:cubicBezTo>
                      <a:pt x="83372" y="27244"/>
                      <a:pt x="80633" y="28613"/>
                      <a:pt x="77894" y="27929"/>
                    </a:cubicBezTo>
                    <a:cubicBezTo>
                      <a:pt x="71046" y="25874"/>
                      <a:pt x="64198" y="25874"/>
                      <a:pt x="58035" y="27929"/>
                    </a:cubicBezTo>
                    <a:cubicBezTo>
                      <a:pt x="55296" y="28613"/>
                      <a:pt x="53242" y="27244"/>
                      <a:pt x="51872" y="25189"/>
                    </a:cubicBezTo>
                    <a:lnTo>
                      <a:pt x="47764" y="14233"/>
                    </a:lnTo>
                    <a:lnTo>
                      <a:pt x="43655" y="15602"/>
                    </a:lnTo>
                    <a:lnTo>
                      <a:pt x="47764" y="25874"/>
                    </a:lnTo>
                    <a:cubicBezTo>
                      <a:pt x="48448" y="27929"/>
                      <a:pt x="47764" y="30668"/>
                      <a:pt x="45709" y="32037"/>
                    </a:cubicBezTo>
                    <a:cubicBezTo>
                      <a:pt x="40231" y="35461"/>
                      <a:pt x="36122" y="39570"/>
                      <a:pt x="32698" y="45048"/>
                    </a:cubicBezTo>
                    <a:cubicBezTo>
                      <a:pt x="31329" y="47103"/>
                      <a:pt x="28590" y="47787"/>
                      <a:pt x="26535" y="47103"/>
                    </a:cubicBezTo>
                    <a:lnTo>
                      <a:pt x="16264" y="42309"/>
                    </a:lnTo>
                    <a:lnTo>
                      <a:pt x="14209" y="46418"/>
                    </a:lnTo>
                    <a:lnTo>
                      <a:pt x="24481" y="51211"/>
                    </a:lnTo>
                    <a:cubicBezTo>
                      <a:pt x="26535" y="52581"/>
                      <a:pt x="27905" y="54635"/>
                      <a:pt x="27220" y="57374"/>
                    </a:cubicBezTo>
                    <a:cubicBezTo>
                      <a:pt x="25850" y="63537"/>
                      <a:pt x="25166" y="69700"/>
                      <a:pt x="26535" y="75863"/>
                    </a:cubicBezTo>
                    <a:cubicBezTo>
                      <a:pt x="27220" y="78603"/>
                      <a:pt x="25850" y="80657"/>
                      <a:pt x="23111" y="81342"/>
                    </a:cubicBezTo>
                    <a:lnTo>
                      <a:pt x="12155" y="85450"/>
                    </a:lnTo>
                    <a:lnTo>
                      <a:pt x="13524" y="90244"/>
                    </a:lnTo>
                    <a:lnTo>
                      <a:pt x="24481" y="86135"/>
                    </a:lnTo>
                    <a:cubicBezTo>
                      <a:pt x="26535" y="85450"/>
                      <a:pt x="29274" y="86135"/>
                      <a:pt x="30644" y="88189"/>
                    </a:cubicBezTo>
                    <a:cubicBezTo>
                      <a:pt x="34068" y="94353"/>
                      <a:pt x="38862" y="99146"/>
                      <a:pt x="44340" y="103255"/>
                    </a:cubicBezTo>
                    <a:cubicBezTo>
                      <a:pt x="46394" y="104624"/>
                      <a:pt x="47079" y="107363"/>
                      <a:pt x="46394" y="109418"/>
                    </a:cubicBezTo>
                    <a:lnTo>
                      <a:pt x="41601" y="119690"/>
                    </a:lnTo>
                    <a:lnTo>
                      <a:pt x="45709" y="121744"/>
                    </a:lnTo>
                    <a:lnTo>
                      <a:pt x="50503" y="111472"/>
                    </a:lnTo>
                    <a:cubicBezTo>
                      <a:pt x="51872" y="109418"/>
                      <a:pt x="53927" y="108048"/>
                      <a:pt x="56666" y="108733"/>
                    </a:cubicBezTo>
                    <a:cubicBezTo>
                      <a:pt x="63514" y="110787"/>
                      <a:pt x="70361" y="110787"/>
                      <a:pt x="76525" y="108733"/>
                    </a:cubicBezTo>
                    <a:cubicBezTo>
                      <a:pt x="77209" y="108733"/>
                      <a:pt x="77209" y="108733"/>
                      <a:pt x="77894" y="108733"/>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44" name="Freeform: Shape 43">
                <a:extLst>
                  <a:ext uri="{FF2B5EF4-FFF2-40B4-BE49-F238E27FC236}">
                    <a16:creationId xmlns:a16="http://schemas.microsoft.com/office/drawing/2014/main" id="{962229E0-8F05-7E62-F5BE-A178619C1EDD}"/>
                  </a:ext>
                </a:extLst>
              </p:cNvPr>
              <p:cNvSpPr/>
              <p:nvPr/>
            </p:nvSpPr>
            <p:spPr>
              <a:xfrm>
                <a:off x="742037" y="3236507"/>
                <a:ext cx="47248" cy="47805"/>
              </a:xfrm>
              <a:custGeom>
                <a:avLst/>
                <a:gdLst>
                  <a:gd name="connsiteX0" fmla="*/ 23967 w 47934"/>
                  <a:gd name="connsiteY0" fmla="*/ 47935 h 47934"/>
                  <a:gd name="connsiteX1" fmla="*/ 0 w 47934"/>
                  <a:gd name="connsiteY1" fmla="*/ 23967 h 47934"/>
                  <a:gd name="connsiteX2" fmla="*/ 23967 w 47934"/>
                  <a:gd name="connsiteY2" fmla="*/ 0 h 47934"/>
                  <a:gd name="connsiteX3" fmla="*/ 47935 w 47934"/>
                  <a:gd name="connsiteY3" fmla="*/ 23967 h 47934"/>
                  <a:gd name="connsiteX4" fmla="*/ 23967 w 47934"/>
                  <a:gd name="connsiteY4" fmla="*/ 47935 h 47934"/>
                  <a:gd name="connsiteX5" fmla="*/ 23967 w 47934"/>
                  <a:gd name="connsiteY5" fmla="*/ 10272 h 47934"/>
                  <a:gd name="connsiteX6" fmla="*/ 10272 w 47934"/>
                  <a:gd name="connsiteY6" fmla="*/ 23967 h 47934"/>
                  <a:gd name="connsiteX7" fmla="*/ 23967 w 47934"/>
                  <a:gd name="connsiteY7" fmla="*/ 37663 h 47934"/>
                  <a:gd name="connsiteX8" fmla="*/ 37663 w 47934"/>
                  <a:gd name="connsiteY8" fmla="*/ 23967 h 47934"/>
                  <a:gd name="connsiteX9" fmla="*/ 23967 w 47934"/>
                  <a:gd name="connsiteY9" fmla="*/ 10272 h 4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34" h="47934">
                    <a:moveTo>
                      <a:pt x="23967" y="47935"/>
                    </a:moveTo>
                    <a:cubicBezTo>
                      <a:pt x="10957" y="47935"/>
                      <a:pt x="0" y="36978"/>
                      <a:pt x="0" y="23967"/>
                    </a:cubicBezTo>
                    <a:cubicBezTo>
                      <a:pt x="0" y="10957"/>
                      <a:pt x="10957" y="0"/>
                      <a:pt x="23967" y="0"/>
                    </a:cubicBezTo>
                    <a:cubicBezTo>
                      <a:pt x="36978" y="0"/>
                      <a:pt x="47935" y="10957"/>
                      <a:pt x="47935" y="23967"/>
                    </a:cubicBezTo>
                    <a:cubicBezTo>
                      <a:pt x="47935" y="37663"/>
                      <a:pt x="37663" y="47935"/>
                      <a:pt x="23967" y="47935"/>
                    </a:cubicBezTo>
                    <a:close/>
                    <a:moveTo>
                      <a:pt x="23967" y="10272"/>
                    </a:moveTo>
                    <a:cubicBezTo>
                      <a:pt x="16435" y="10272"/>
                      <a:pt x="10272" y="16435"/>
                      <a:pt x="10272" y="23967"/>
                    </a:cubicBezTo>
                    <a:cubicBezTo>
                      <a:pt x="10272" y="31500"/>
                      <a:pt x="16435" y="37663"/>
                      <a:pt x="23967" y="37663"/>
                    </a:cubicBezTo>
                    <a:cubicBezTo>
                      <a:pt x="31500" y="37663"/>
                      <a:pt x="37663" y="31500"/>
                      <a:pt x="37663" y="23967"/>
                    </a:cubicBezTo>
                    <a:cubicBezTo>
                      <a:pt x="37663" y="16435"/>
                      <a:pt x="31500" y="10272"/>
                      <a:pt x="23967" y="10272"/>
                    </a:cubicBezTo>
                    <a:close/>
                  </a:path>
                </a:pathLst>
              </a:custGeom>
              <a:solidFill>
                <a:schemeClr val="tx2"/>
              </a:solidFill>
              <a:ln w="6832"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grpSp>
        <p:nvGrpSpPr>
          <p:cNvPr id="51" name="Group 50">
            <a:extLst>
              <a:ext uri="{FF2B5EF4-FFF2-40B4-BE49-F238E27FC236}">
                <a16:creationId xmlns:a16="http://schemas.microsoft.com/office/drawing/2014/main" id="{C47C7A80-9B58-3011-EA9A-ABFAB80344D2}"/>
              </a:ext>
            </a:extLst>
          </p:cNvPr>
          <p:cNvGrpSpPr/>
          <p:nvPr/>
        </p:nvGrpSpPr>
        <p:grpSpPr>
          <a:xfrm>
            <a:off x="652882" y="5362575"/>
            <a:ext cx="735133" cy="621653"/>
            <a:chOff x="528914" y="4237009"/>
            <a:chExt cx="500824" cy="423514"/>
          </a:xfrm>
        </p:grpSpPr>
        <p:grpSp>
          <p:nvGrpSpPr>
            <p:cNvPr id="52" name="Group 51">
              <a:extLst>
                <a:ext uri="{FF2B5EF4-FFF2-40B4-BE49-F238E27FC236}">
                  <a16:creationId xmlns:a16="http://schemas.microsoft.com/office/drawing/2014/main" id="{D356419F-2835-3530-1D0C-9013CA34C597}"/>
                </a:ext>
              </a:extLst>
            </p:cNvPr>
            <p:cNvGrpSpPr/>
            <p:nvPr/>
          </p:nvGrpSpPr>
          <p:grpSpPr>
            <a:xfrm>
              <a:off x="528914" y="4237009"/>
              <a:ext cx="379129" cy="423514"/>
              <a:chOff x="528914" y="4237009"/>
              <a:chExt cx="379129" cy="423514"/>
            </a:xfrm>
          </p:grpSpPr>
          <p:sp>
            <p:nvSpPr>
              <p:cNvPr id="58" name="Freeform: Shape 57">
                <a:extLst>
                  <a:ext uri="{FF2B5EF4-FFF2-40B4-BE49-F238E27FC236}">
                    <a16:creationId xmlns:a16="http://schemas.microsoft.com/office/drawing/2014/main" id="{56422527-9F16-5292-A7AC-3C609ECE0FB2}"/>
                  </a:ext>
                </a:extLst>
              </p:cNvPr>
              <p:cNvSpPr/>
              <p:nvPr/>
            </p:nvSpPr>
            <p:spPr>
              <a:xfrm>
                <a:off x="857959" y="4519350"/>
                <a:ext cx="14310" cy="70586"/>
              </a:xfrm>
              <a:custGeom>
                <a:avLst/>
                <a:gdLst>
                  <a:gd name="connsiteX0" fmla="*/ 6944 w 13888"/>
                  <a:gd name="connsiteY0" fmla="*/ 69445 h 69444"/>
                  <a:gd name="connsiteX1" fmla="*/ 0 w 13888"/>
                  <a:gd name="connsiteY1" fmla="*/ 62500 h 69444"/>
                  <a:gd name="connsiteX2" fmla="*/ 0 w 13888"/>
                  <a:gd name="connsiteY2" fmla="*/ 6944 h 69444"/>
                  <a:gd name="connsiteX3" fmla="*/ 6944 w 13888"/>
                  <a:gd name="connsiteY3" fmla="*/ 0 h 69444"/>
                  <a:gd name="connsiteX4" fmla="*/ 13889 w 13888"/>
                  <a:gd name="connsiteY4" fmla="*/ 6944 h 69444"/>
                  <a:gd name="connsiteX5" fmla="*/ 13889 w 13888"/>
                  <a:gd name="connsiteY5" fmla="*/ 62500 h 69444"/>
                  <a:gd name="connsiteX6" fmla="*/ 6944 w 13888"/>
                  <a:gd name="connsiteY6" fmla="*/ 69445 h 6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8" h="69444">
                    <a:moveTo>
                      <a:pt x="6944" y="69445"/>
                    </a:moveTo>
                    <a:cubicBezTo>
                      <a:pt x="3125" y="69445"/>
                      <a:pt x="0" y="66320"/>
                      <a:pt x="0" y="62500"/>
                    </a:cubicBezTo>
                    <a:lnTo>
                      <a:pt x="0" y="6944"/>
                    </a:lnTo>
                    <a:cubicBezTo>
                      <a:pt x="0" y="3125"/>
                      <a:pt x="3125" y="0"/>
                      <a:pt x="6944" y="0"/>
                    </a:cubicBezTo>
                    <a:cubicBezTo>
                      <a:pt x="10764" y="0"/>
                      <a:pt x="13889" y="3125"/>
                      <a:pt x="13889" y="6944"/>
                    </a:cubicBezTo>
                    <a:lnTo>
                      <a:pt x="13889" y="62500"/>
                    </a:lnTo>
                    <a:cubicBezTo>
                      <a:pt x="13889" y="66320"/>
                      <a:pt x="10764" y="69445"/>
                      <a:pt x="6944" y="69445"/>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59" name="Freeform: Shape 58">
                <a:extLst>
                  <a:ext uri="{FF2B5EF4-FFF2-40B4-BE49-F238E27FC236}">
                    <a16:creationId xmlns:a16="http://schemas.microsoft.com/office/drawing/2014/main" id="{9995212F-FDAE-9F94-6CA3-AE46603E7415}"/>
                  </a:ext>
                </a:extLst>
              </p:cNvPr>
              <p:cNvSpPr/>
              <p:nvPr/>
            </p:nvSpPr>
            <p:spPr>
              <a:xfrm>
                <a:off x="571772" y="4279360"/>
                <a:ext cx="336271" cy="381163"/>
              </a:xfrm>
              <a:custGeom>
                <a:avLst/>
                <a:gdLst>
                  <a:gd name="connsiteX0" fmla="*/ 284724 w 326390"/>
                  <a:gd name="connsiteY0" fmla="*/ 375002 h 375001"/>
                  <a:gd name="connsiteX1" fmla="*/ 41667 w 326390"/>
                  <a:gd name="connsiteY1" fmla="*/ 375002 h 375001"/>
                  <a:gd name="connsiteX2" fmla="*/ 0 w 326390"/>
                  <a:gd name="connsiteY2" fmla="*/ 333335 h 375001"/>
                  <a:gd name="connsiteX3" fmla="*/ 0 w 326390"/>
                  <a:gd name="connsiteY3" fmla="*/ 6944 h 375001"/>
                  <a:gd name="connsiteX4" fmla="*/ 6944 w 326390"/>
                  <a:gd name="connsiteY4" fmla="*/ 0 h 375001"/>
                  <a:gd name="connsiteX5" fmla="*/ 284724 w 326390"/>
                  <a:gd name="connsiteY5" fmla="*/ 0 h 375001"/>
                  <a:gd name="connsiteX6" fmla="*/ 291668 w 326390"/>
                  <a:gd name="connsiteY6" fmla="*/ 6944 h 375001"/>
                  <a:gd name="connsiteX7" fmla="*/ 291668 w 326390"/>
                  <a:gd name="connsiteY7" fmla="*/ 62500 h 375001"/>
                  <a:gd name="connsiteX8" fmla="*/ 284724 w 326390"/>
                  <a:gd name="connsiteY8" fmla="*/ 69445 h 375001"/>
                  <a:gd name="connsiteX9" fmla="*/ 277779 w 326390"/>
                  <a:gd name="connsiteY9" fmla="*/ 62500 h 375001"/>
                  <a:gd name="connsiteX10" fmla="*/ 277779 w 326390"/>
                  <a:gd name="connsiteY10" fmla="*/ 13889 h 375001"/>
                  <a:gd name="connsiteX11" fmla="*/ 13889 w 326390"/>
                  <a:gd name="connsiteY11" fmla="*/ 13889 h 375001"/>
                  <a:gd name="connsiteX12" fmla="*/ 13889 w 326390"/>
                  <a:gd name="connsiteY12" fmla="*/ 333335 h 375001"/>
                  <a:gd name="connsiteX13" fmla="*/ 41667 w 326390"/>
                  <a:gd name="connsiteY13" fmla="*/ 361113 h 375001"/>
                  <a:gd name="connsiteX14" fmla="*/ 69445 w 326390"/>
                  <a:gd name="connsiteY14" fmla="*/ 333335 h 375001"/>
                  <a:gd name="connsiteX15" fmla="*/ 48611 w 326390"/>
                  <a:gd name="connsiteY15" fmla="*/ 305557 h 375001"/>
                  <a:gd name="connsiteX16" fmla="*/ 41667 w 326390"/>
                  <a:gd name="connsiteY16" fmla="*/ 298613 h 375001"/>
                  <a:gd name="connsiteX17" fmla="*/ 48611 w 326390"/>
                  <a:gd name="connsiteY17" fmla="*/ 291668 h 375001"/>
                  <a:gd name="connsiteX18" fmla="*/ 291668 w 326390"/>
                  <a:gd name="connsiteY18" fmla="*/ 291668 h 375001"/>
                  <a:gd name="connsiteX19" fmla="*/ 326391 w 326390"/>
                  <a:gd name="connsiteY19" fmla="*/ 333335 h 375001"/>
                  <a:gd name="connsiteX20" fmla="*/ 284724 w 326390"/>
                  <a:gd name="connsiteY20" fmla="*/ 375002 h 375001"/>
                  <a:gd name="connsiteX21" fmla="*/ 72709 w 326390"/>
                  <a:gd name="connsiteY21" fmla="*/ 361113 h 375001"/>
                  <a:gd name="connsiteX22" fmla="*/ 284724 w 326390"/>
                  <a:gd name="connsiteY22" fmla="*/ 361113 h 375001"/>
                  <a:gd name="connsiteX23" fmla="*/ 312502 w 326390"/>
                  <a:gd name="connsiteY23" fmla="*/ 333335 h 375001"/>
                  <a:gd name="connsiteX24" fmla="*/ 291668 w 326390"/>
                  <a:gd name="connsiteY24" fmla="*/ 305557 h 375001"/>
                  <a:gd name="connsiteX25" fmla="*/ 75834 w 326390"/>
                  <a:gd name="connsiteY25" fmla="*/ 305557 h 375001"/>
                  <a:gd name="connsiteX26" fmla="*/ 83334 w 326390"/>
                  <a:gd name="connsiteY26" fmla="*/ 333335 h 375001"/>
                  <a:gd name="connsiteX27" fmla="*/ 72709 w 326390"/>
                  <a:gd name="connsiteY27" fmla="*/ 361113 h 37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6390" h="375001">
                    <a:moveTo>
                      <a:pt x="284724" y="375002"/>
                    </a:moveTo>
                    <a:lnTo>
                      <a:pt x="41667" y="375002"/>
                    </a:lnTo>
                    <a:cubicBezTo>
                      <a:pt x="18681" y="375002"/>
                      <a:pt x="0" y="356322"/>
                      <a:pt x="0" y="333335"/>
                    </a:cubicBezTo>
                    <a:lnTo>
                      <a:pt x="0" y="6944"/>
                    </a:lnTo>
                    <a:cubicBezTo>
                      <a:pt x="0" y="3125"/>
                      <a:pt x="3125" y="0"/>
                      <a:pt x="6944" y="0"/>
                    </a:cubicBezTo>
                    <a:lnTo>
                      <a:pt x="284724" y="0"/>
                    </a:lnTo>
                    <a:cubicBezTo>
                      <a:pt x="288543" y="0"/>
                      <a:pt x="291668" y="3125"/>
                      <a:pt x="291668" y="6944"/>
                    </a:cubicBezTo>
                    <a:lnTo>
                      <a:pt x="291668" y="62500"/>
                    </a:lnTo>
                    <a:cubicBezTo>
                      <a:pt x="291668" y="66320"/>
                      <a:pt x="288543" y="69445"/>
                      <a:pt x="284724" y="69445"/>
                    </a:cubicBezTo>
                    <a:cubicBezTo>
                      <a:pt x="280904" y="69445"/>
                      <a:pt x="277779" y="66320"/>
                      <a:pt x="277779" y="62500"/>
                    </a:cubicBezTo>
                    <a:lnTo>
                      <a:pt x="277779" y="13889"/>
                    </a:lnTo>
                    <a:lnTo>
                      <a:pt x="13889" y="13889"/>
                    </a:lnTo>
                    <a:lnTo>
                      <a:pt x="13889" y="333335"/>
                    </a:lnTo>
                    <a:cubicBezTo>
                      <a:pt x="13889" y="348683"/>
                      <a:pt x="26320" y="361113"/>
                      <a:pt x="41667" y="361113"/>
                    </a:cubicBezTo>
                    <a:cubicBezTo>
                      <a:pt x="57014" y="361113"/>
                      <a:pt x="69445" y="348683"/>
                      <a:pt x="69445" y="333335"/>
                    </a:cubicBezTo>
                    <a:cubicBezTo>
                      <a:pt x="69445" y="325002"/>
                      <a:pt x="67431" y="305557"/>
                      <a:pt x="48611" y="305557"/>
                    </a:cubicBezTo>
                    <a:cubicBezTo>
                      <a:pt x="44792" y="305557"/>
                      <a:pt x="41667" y="302432"/>
                      <a:pt x="41667" y="298613"/>
                    </a:cubicBezTo>
                    <a:cubicBezTo>
                      <a:pt x="41667" y="294793"/>
                      <a:pt x="44792" y="291668"/>
                      <a:pt x="48611" y="291668"/>
                    </a:cubicBezTo>
                    <a:lnTo>
                      <a:pt x="291668" y="291668"/>
                    </a:lnTo>
                    <a:cubicBezTo>
                      <a:pt x="312779" y="291668"/>
                      <a:pt x="326391" y="308057"/>
                      <a:pt x="326391" y="333335"/>
                    </a:cubicBezTo>
                    <a:cubicBezTo>
                      <a:pt x="326391" y="356322"/>
                      <a:pt x="307710" y="375002"/>
                      <a:pt x="284724" y="375002"/>
                    </a:cubicBezTo>
                    <a:close/>
                    <a:moveTo>
                      <a:pt x="72709" y="361113"/>
                    </a:moveTo>
                    <a:lnTo>
                      <a:pt x="284724" y="361113"/>
                    </a:lnTo>
                    <a:cubicBezTo>
                      <a:pt x="300071" y="361113"/>
                      <a:pt x="312502" y="348683"/>
                      <a:pt x="312502" y="333335"/>
                    </a:cubicBezTo>
                    <a:cubicBezTo>
                      <a:pt x="312502" y="325002"/>
                      <a:pt x="310488" y="305557"/>
                      <a:pt x="291668" y="305557"/>
                    </a:cubicBezTo>
                    <a:lnTo>
                      <a:pt x="75834" y="305557"/>
                    </a:lnTo>
                    <a:cubicBezTo>
                      <a:pt x="80695" y="312641"/>
                      <a:pt x="83334" y="322085"/>
                      <a:pt x="83334" y="333335"/>
                    </a:cubicBezTo>
                    <a:cubicBezTo>
                      <a:pt x="83334" y="344030"/>
                      <a:pt x="79306" y="353752"/>
                      <a:pt x="72709" y="361113"/>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60" name="Freeform: Shape 59">
                <a:extLst>
                  <a:ext uri="{FF2B5EF4-FFF2-40B4-BE49-F238E27FC236}">
                    <a16:creationId xmlns:a16="http://schemas.microsoft.com/office/drawing/2014/main" id="{F02E5DC3-7862-F8CD-90A9-75A96B0C686F}"/>
                  </a:ext>
                </a:extLst>
              </p:cNvPr>
              <p:cNvSpPr/>
              <p:nvPr/>
            </p:nvSpPr>
            <p:spPr>
              <a:xfrm>
                <a:off x="528914" y="4237009"/>
                <a:ext cx="300497" cy="374105"/>
              </a:xfrm>
              <a:custGeom>
                <a:avLst/>
                <a:gdLst>
                  <a:gd name="connsiteX0" fmla="*/ 20764 w 291668"/>
                  <a:gd name="connsiteY0" fmla="*/ 368058 h 368057"/>
                  <a:gd name="connsiteX1" fmla="*/ 16597 w 291668"/>
                  <a:gd name="connsiteY1" fmla="*/ 366669 h 368057"/>
                  <a:gd name="connsiteX2" fmla="*/ 0 w 291668"/>
                  <a:gd name="connsiteY2" fmla="*/ 333335 h 368057"/>
                  <a:gd name="connsiteX3" fmla="*/ 0 w 291668"/>
                  <a:gd name="connsiteY3" fmla="*/ 6944 h 368057"/>
                  <a:gd name="connsiteX4" fmla="*/ 6944 w 291668"/>
                  <a:gd name="connsiteY4" fmla="*/ 0 h 368057"/>
                  <a:gd name="connsiteX5" fmla="*/ 284724 w 291668"/>
                  <a:gd name="connsiteY5" fmla="*/ 0 h 368057"/>
                  <a:gd name="connsiteX6" fmla="*/ 291668 w 291668"/>
                  <a:gd name="connsiteY6" fmla="*/ 6944 h 368057"/>
                  <a:gd name="connsiteX7" fmla="*/ 291668 w 291668"/>
                  <a:gd name="connsiteY7" fmla="*/ 20833 h 368057"/>
                  <a:gd name="connsiteX8" fmla="*/ 284724 w 291668"/>
                  <a:gd name="connsiteY8" fmla="*/ 27778 h 368057"/>
                  <a:gd name="connsiteX9" fmla="*/ 277779 w 291668"/>
                  <a:gd name="connsiteY9" fmla="*/ 20833 h 368057"/>
                  <a:gd name="connsiteX10" fmla="*/ 277779 w 291668"/>
                  <a:gd name="connsiteY10" fmla="*/ 13889 h 368057"/>
                  <a:gd name="connsiteX11" fmla="*/ 13889 w 291668"/>
                  <a:gd name="connsiteY11" fmla="*/ 13889 h 368057"/>
                  <a:gd name="connsiteX12" fmla="*/ 13889 w 291668"/>
                  <a:gd name="connsiteY12" fmla="*/ 333335 h 368057"/>
                  <a:gd name="connsiteX13" fmla="*/ 25000 w 291668"/>
                  <a:gd name="connsiteY13" fmla="*/ 355558 h 368057"/>
                  <a:gd name="connsiteX14" fmla="*/ 26389 w 291668"/>
                  <a:gd name="connsiteY14" fmla="*/ 365280 h 368057"/>
                  <a:gd name="connsiteX15" fmla="*/ 20764 w 291668"/>
                  <a:gd name="connsiteY15" fmla="*/ 368058 h 36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1668" h="368057">
                    <a:moveTo>
                      <a:pt x="20764" y="368058"/>
                    </a:moveTo>
                    <a:cubicBezTo>
                      <a:pt x="19306" y="368058"/>
                      <a:pt x="17847" y="367572"/>
                      <a:pt x="16597" y="366669"/>
                    </a:cubicBezTo>
                    <a:cubicBezTo>
                      <a:pt x="6042" y="358683"/>
                      <a:pt x="0" y="346599"/>
                      <a:pt x="0" y="333335"/>
                    </a:cubicBezTo>
                    <a:lnTo>
                      <a:pt x="0" y="6944"/>
                    </a:lnTo>
                    <a:cubicBezTo>
                      <a:pt x="0" y="3125"/>
                      <a:pt x="3125" y="0"/>
                      <a:pt x="6944" y="0"/>
                    </a:cubicBezTo>
                    <a:lnTo>
                      <a:pt x="284724" y="0"/>
                    </a:lnTo>
                    <a:cubicBezTo>
                      <a:pt x="288543" y="0"/>
                      <a:pt x="291668" y="3125"/>
                      <a:pt x="291668" y="6944"/>
                    </a:cubicBezTo>
                    <a:lnTo>
                      <a:pt x="291668" y="20833"/>
                    </a:lnTo>
                    <a:cubicBezTo>
                      <a:pt x="291668" y="24653"/>
                      <a:pt x="288543" y="27778"/>
                      <a:pt x="284724" y="27778"/>
                    </a:cubicBezTo>
                    <a:cubicBezTo>
                      <a:pt x="280904" y="27778"/>
                      <a:pt x="277779" y="24653"/>
                      <a:pt x="277779" y="20833"/>
                    </a:cubicBezTo>
                    <a:lnTo>
                      <a:pt x="277779" y="13889"/>
                    </a:lnTo>
                    <a:lnTo>
                      <a:pt x="13889" y="13889"/>
                    </a:lnTo>
                    <a:lnTo>
                      <a:pt x="13889" y="333335"/>
                    </a:lnTo>
                    <a:cubicBezTo>
                      <a:pt x="13889" y="342155"/>
                      <a:pt x="17917" y="350210"/>
                      <a:pt x="25000" y="355558"/>
                    </a:cubicBezTo>
                    <a:cubicBezTo>
                      <a:pt x="28056" y="357849"/>
                      <a:pt x="28681" y="362224"/>
                      <a:pt x="26389" y="365280"/>
                    </a:cubicBezTo>
                    <a:cubicBezTo>
                      <a:pt x="24931" y="367085"/>
                      <a:pt x="22847" y="368058"/>
                      <a:pt x="20764" y="368058"/>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61" name="Freeform: Shape 60">
                <a:extLst>
                  <a:ext uri="{FF2B5EF4-FFF2-40B4-BE49-F238E27FC236}">
                    <a16:creationId xmlns:a16="http://schemas.microsoft.com/office/drawing/2014/main" id="{04476FEC-E933-BACE-4B86-22FCFEA8DE34}"/>
                  </a:ext>
                </a:extLst>
              </p:cNvPr>
              <p:cNvSpPr/>
              <p:nvPr/>
            </p:nvSpPr>
            <p:spPr>
              <a:xfrm>
                <a:off x="621853" y="4406413"/>
                <a:ext cx="85856" cy="14118"/>
              </a:xfrm>
              <a:custGeom>
                <a:avLst/>
                <a:gdLst>
                  <a:gd name="connsiteX0" fmla="*/ 76389 w 83333"/>
                  <a:gd name="connsiteY0" fmla="*/ 13889 h 13888"/>
                  <a:gd name="connsiteX1" fmla="*/ 6944 w 83333"/>
                  <a:gd name="connsiteY1" fmla="*/ 13889 h 13888"/>
                  <a:gd name="connsiteX2" fmla="*/ 0 w 83333"/>
                  <a:gd name="connsiteY2" fmla="*/ 6944 h 13888"/>
                  <a:gd name="connsiteX3" fmla="*/ 6944 w 83333"/>
                  <a:gd name="connsiteY3" fmla="*/ 0 h 13888"/>
                  <a:gd name="connsiteX4" fmla="*/ 76389 w 83333"/>
                  <a:gd name="connsiteY4" fmla="*/ 0 h 13888"/>
                  <a:gd name="connsiteX5" fmla="*/ 83334 w 83333"/>
                  <a:gd name="connsiteY5" fmla="*/ 6944 h 13888"/>
                  <a:gd name="connsiteX6" fmla="*/ 76389 w 83333"/>
                  <a:gd name="connsiteY6" fmla="*/ 13889 h 1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33" h="13888">
                    <a:moveTo>
                      <a:pt x="76389" y="13889"/>
                    </a:moveTo>
                    <a:lnTo>
                      <a:pt x="6944" y="13889"/>
                    </a:lnTo>
                    <a:cubicBezTo>
                      <a:pt x="3125" y="13889"/>
                      <a:pt x="0" y="10764"/>
                      <a:pt x="0" y="6944"/>
                    </a:cubicBezTo>
                    <a:cubicBezTo>
                      <a:pt x="0" y="3125"/>
                      <a:pt x="3125" y="0"/>
                      <a:pt x="6944" y="0"/>
                    </a:cubicBezTo>
                    <a:lnTo>
                      <a:pt x="76389" y="0"/>
                    </a:lnTo>
                    <a:cubicBezTo>
                      <a:pt x="80209" y="0"/>
                      <a:pt x="83334" y="3125"/>
                      <a:pt x="83334" y="6944"/>
                    </a:cubicBezTo>
                    <a:cubicBezTo>
                      <a:pt x="83334" y="10764"/>
                      <a:pt x="80209" y="13889"/>
                      <a:pt x="76389" y="13889"/>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62" name="Freeform: Shape 61">
                <a:extLst>
                  <a:ext uri="{FF2B5EF4-FFF2-40B4-BE49-F238E27FC236}">
                    <a16:creationId xmlns:a16="http://schemas.microsoft.com/office/drawing/2014/main" id="{5156C85B-A95D-67B5-7BC4-6BC8A07DF0CC}"/>
                  </a:ext>
                </a:extLst>
              </p:cNvPr>
              <p:cNvSpPr/>
              <p:nvPr/>
            </p:nvSpPr>
            <p:spPr>
              <a:xfrm>
                <a:off x="621853" y="4357004"/>
                <a:ext cx="100166" cy="14118"/>
              </a:xfrm>
              <a:custGeom>
                <a:avLst/>
                <a:gdLst>
                  <a:gd name="connsiteX0" fmla="*/ 90278 w 97222"/>
                  <a:gd name="connsiteY0" fmla="*/ 13889 h 13888"/>
                  <a:gd name="connsiteX1" fmla="*/ 6944 w 97222"/>
                  <a:gd name="connsiteY1" fmla="*/ 13889 h 13888"/>
                  <a:gd name="connsiteX2" fmla="*/ 0 w 97222"/>
                  <a:gd name="connsiteY2" fmla="*/ 6944 h 13888"/>
                  <a:gd name="connsiteX3" fmla="*/ 6944 w 97222"/>
                  <a:gd name="connsiteY3" fmla="*/ 0 h 13888"/>
                  <a:gd name="connsiteX4" fmla="*/ 90278 w 97222"/>
                  <a:gd name="connsiteY4" fmla="*/ 0 h 13888"/>
                  <a:gd name="connsiteX5" fmla="*/ 97223 w 97222"/>
                  <a:gd name="connsiteY5" fmla="*/ 6944 h 13888"/>
                  <a:gd name="connsiteX6" fmla="*/ 90278 w 97222"/>
                  <a:gd name="connsiteY6" fmla="*/ 13889 h 1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222" h="13888">
                    <a:moveTo>
                      <a:pt x="90278" y="13889"/>
                    </a:moveTo>
                    <a:lnTo>
                      <a:pt x="6944" y="13889"/>
                    </a:lnTo>
                    <a:cubicBezTo>
                      <a:pt x="3125" y="13889"/>
                      <a:pt x="0" y="10764"/>
                      <a:pt x="0" y="6944"/>
                    </a:cubicBezTo>
                    <a:cubicBezTo>
                      <a:pt x="0" y="3125"/>
                      <a:pt x="3125" y="0"/>
                      <a:pt x="6944" y="0"/>
                    </a:cubicBezTo>
                    <a:lnTo>
                      <a:pt x="90278" y="0"/>
                    </a:lnTo>
                    <a:cubicBezTo>
                      <a:pt x="94098" y="0"/>
                      <a:pt x="97223" y="3125"/>
                      <a:pt x="97223" y="6944"/>
                    </a:cubicBezTo>
                    <a:cubicBezTo>
                      <a:pt x="97223" y="10764"/>
                      <a:pt x="94098" y="13889"/>
                      <a:pt x="90278" y="13889"/>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63" name="Freeform: Shape 62">
                <a:extLst>
                  <a:ext uri="{FF2B5EF4-FFF2-40B4-BE49-F238E27FC236}">
                    <a16:creationId xmlns:a16="http://schemas.microsoft.com/office/drawing/2014/main" id="{89F6A22E-ECAB-D941-5893-28B99F38A091}"/>
                  </a:ext>
                </a:extLst>
              </p:cNvPr>
              <p:cNvSpPr/>
              <p:nvPr/>
            </p:nvSpPr>
            <p:spPr>
              <a:xfrm>
                <a:off x="621853" y="4455824"/>
                <a:ext cx="93011" cy="14118"/>
              </a:xfrm>
              <a:custGeom>
                <a:avLst/>
                <a:gdLst>
                  <a:gd name="connsiteX0" fmla="*/ 83334 w 90278"/>
                  <a:gd name="connsiteY0" fmla="*/ 13889 h 13888"/>
                  <a:gd name="connsiteX1" fmla="*/ 6944 w 90278"/>
                  <a:gd name="connsiteY1" fmla="*/ 13889 h 13888"/>
                  <a:gd name="connsiteX2" fmla="*/ 0 w 90278"/>
                  <a:gd name="connsiteY2" fmla="*/ 6944 h 13888"/>
                  <a:gd name="connsiteX3" fmla="*/ 6944 w 90278"/>
                  <a:gd name="connsiteY3" fmla="*/ 0 h 13888"/>
                  <a:gd name="connsiteX4" fmla="*/ 83334 w 90278"/>
                  <a:gd name="connsiteY4" fmla="*/ 0 h 13888"/>
                  <a:gd name="connsiteX5" fmla="*/ 90278 w 90278"/>
                  <a:gd name="connsiteY5" fmla="*/ 6944 h 13888"/>
                  <a:gd name="connsiteX6" fmla="*/ 83334 w 90278"/>
                  <a:gd name="connsiteY6" fmla="*/ 13889 h 1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278" h="13888">
                    <a:moveTo>
                      <a:pt x="83334" y="13889"/>
                    </a:moveTo>
                    <a:lnTo>
                      <a:pt x="6944" y="13889"/>
                    </a:lnTo>
                    <a:cubicBezTo>
                      <a:pt x="3125" y="13889"/>
                      <a:pt x="0" y="10764"/>
                      <a:pt x="0" y="6944"/>
                    </a:cubicBezTo>
                    <a:cubicBezTo>
                      <a:pt x="0" y="3125"/>
                      <a:pt x="3125" y="0"/>
                      <a:pt x="6944" y="0"/>
                    </a:cubicBezTo>
                    <a:lnTo>
                      <a:pt x="83334" y="0"/>
                    </a:lnTo>
                    <a:cubicBezTo>
                      <a:pt x="87153" y="0"/>
                      <a:pt x="90278" y="3125"/>
                      <a:pt x="90278" y="6944"/>
                    </a:cubicBezTo>
                    <a:cubicBezTo>
                      <a:pt x="90278" y="10764"/>
                      <a:pt x="87153" y="13889"/>
                      <a:pt x="83334" y="13889"/>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64" name="Freeform: Shape 63">
                <a:extLst>
                  <a:ext uri="{FF2B5EF4-FFF2-40B4-BE49-F238E27FC236}">
                    <a16:creationId xmlns:a16="http://schemas.microsoft.com/office/drawing/2014/main" id="{153F674C-C41D-21AF-AF76-0D333F3D54A0}"/>
                  </a:ext>
                </a:extLst>
              </p:cNvPr>
              <p:cNvSpPr/>
              <p:nvPr/>
            </p:nvSpPr>
            <p:spPr>
              <a:xfrm>
                <a:off x="621853" y="4505234"/>
                <a:ext cx="121630" cy="14118"/>
              </a:xfrm>
              <a:custGeom>
                <a:avLst/>
                <a:gdLst>
                  <a:gd name="connsiteX0" fmla="*/ 111112 w 118056"/>
                  <a:gd name="connsiteY0" fmla="*/ 13889 h 13888"/>
                  <a:gd name="connsiteX1" fmla="*/ 6944 w 118056"/>
                  <a:gd name="connsiteY1" fmla="*/ 13889 h 13888"/>
                  <a:gd name="connsiteX2" fmla="*/ 0 w 118056"/>
                  <a:gd name="connsiteY2" fmla="*/ 6944 h 13888"/>
                  <a:gd name="connsiteX3" fmla="*/ 6944 w 118056"/>
                  <a:gd name="connsiteY3" fmla="*/ 0 h 13888"/>
                  <a:gd name="connsiteX4" fmla="*/ 111112 w 118056"/>
                  <a:gd name="connsiteY4" fmla="*/ 0 h 13888"/>
                  <a:gd name="connsiteX5" fmla="*/ 118056 w 118056"/>
                  <a:gd name="connsiteY5" fmla="*/ 6944 h 13888"/>
                  <a:gd name="connsiteX6" fmla="*/ 111112 w 118056"/>
                  <a:gd name="connsiteY6" fmla="*/ 13889 h 1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56" h="13888">
                    <a:moveTo>
                      <a:pt x="111112" y="13889"/>
                    </a:moveTo>
                    <a:lnTo>
                      <a:pt x="6944" y="13889"/>
                    </a:lnTo>
                    <a:cubicBezTo>
                      <a:pt x="3125" y="13889"/>
                      <a:pt x="0" y="10764"/>
                      <a:pt x="0" y="6944"/>
                    </a:cubicBezTo>
                    <a:cubicBezTo>
                      <a:pt x="0" y="3125"/>
                      <a:pt x="3125" y="0"/>
                      <a:pt x="6944" y="0"/>
                    </a:cubicBezTo>
                    <a:lnTo>
                      <a:pt x="111112" y="0"/>
                    </a:lnTo>
                    <a:cubicBezTo>
                      <a:pt x="114931" y="0"/>
                      <a:pt x="118056" y="3125"/>
                      <a:pt x="118056" y="6944"/>
                    </a:cubicBezTo>
                    <a:cubicBezTo>
                      <a:pt x="118056" y="10764"/>
                      <a:pt x="114931" y="13889"/>
                      <a:pt x="111112" y="13889"/>
                    </a:cubicBezTo>
                    <a:close/>
                  </a:path>
                </a:pathLst>
              </a:custGeom>
              <a:solidFill>
                <a:schemeClr val="tx2"/>
              </a:solid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nvGrpSpPr>
            <p:cNvPr id="53" name="Group 52">
              <a:extLst>
                <a:ext uri="{FF2B5EF4-FFF2-40B4-BE49-F238E27FC236}">
                  <a16:creationId xmlns:a16="http://schemas.microsoft.com/office/drawing/2014/main" id="{52D6C048-B1EC-92EB-A71E-B6A5A96F92A2}"/>
                </a:ext>
              </a:extLst>
            </p:cNvPr>
            <p:cNvGrpSpPr/>
            <p:nvPr/>
          </p:nvGrpSpPr>
          <p:grpSpPr>
            <a:xfrm>
              <a:off x="729192" y="4331031"/>
              <a:ext cx="300546" cy="217858"/>
              <a:chOff x="5370162" y="4074081"/>
              <a:chExt cx="214833" cy="174762"/>
            </a:xfrm>
            <a:solidFill>
              <a:schemeClr val="accent1"/>
            </a:solidFill>
          </p:grpSpPr>
          <p:sp>
            <p:nvSpPr>
              <p:cNvPr id="54" name="Freeform: Shape 53">
                <a:extLst>
                  <a:ext uri="{FF2B5EF4-FFF2-40B4-BE49-F238E27FC236}">
                    <a16:creationId xmlns:a16="http://schemas.microsoft.com/office/drawing/2014/main" id="{48E70858-E9EB-2F3F-9FC0-DDB3B1F549B2}"/>
                  </a:ext>
                </a:extLst>
              </p:cNvPr>
              <p:cNvSpPr/>
              <p:nvPr/>
            </p:nvSpPr>
            <p:spPr>
              <a:xfrm>
                <a:off x="5467320" y="4111903"/>
                <a:ext cx="10229" cy="96258"/>
              </a:xfrm>
              <a:custGeom>
                <a:avLst/>
                <a:gdLst>
                  <a:gd name="connsiteX0" fmla="*/ 6944 w 13888"/>
                  <a:gd name="connsiteY0" fmla="*/ 118056 h 118056"/>
                  <a:gd name="connsiteX1" fmla="*/ 0 w 13888"/>
                  <a:gd name="connsiteY1" fmla="*/ 111112 h 118056"/>
                  <a:gd name="connsiteX2" fmla="*/ 0 w 13888"/>
                  <a:gd name="connsiteY2" fmla="*/ 6944 h 118056"/>
                  <a:gd name="connsiteX3" fmla="*/ 6944 w 13888"/>
                  <a:gd name="connsiteY3" fmla="*/ 0 h 118056"/>
                  <a:gd name="connsiteX4" fmla="*/ 13889 w 13888"/>
                  <a:gd name="connsiteY4" fmla="*/ 6944 h 118056"/>
                  <a:gd name="connsiteX5" fmla="*/ 13889 w 13888"/>
                  <a:gd name="connsiteY5" fmla="*/ 111112 h 118056"/>
                  <a:gd name="connsiteX6" fmla="*/ 6944 w 13888"/>
                  <a:gd name="connsiteY6" fmla="*/ 118056 h 11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8" h="118056">
                    <a:moveTo>
                      <a:pt x="6944" y="118056"/>
                    </a:moveTo>
                    <a:cubicBezTo>
                      <a:pt x="3125" y="118056"/>
                      <a:pt x="0" y="114931"/>
                      <a:pt x="0" y="111112"/>
                    </a:cubicBezTo>
                    <a:lnTo>
                      <a:pt x="0" y="6944"/>
                    </a:lnTo>
                    <a:cubicBezTo>
                      <a:pt x="0" y="3125"/>
                      <a:pt x="3125" y="0"/>
                      <a:pt x="6944" y="0"/>
                    </a:cubicBezTo>
                    <a:cubicBezTo>
                      <a:pt x="10764" y="0"/>
                      <a:pt x="13889" y="3125"/>
                      <a:pt x="13889" y="6944"/>
                    </a:cubicBezTo>
                    <a:lnTo>
                      <a:pt x="13889" y="111112"/>
                    </a:lnTo>
                    <a:cubicBezTo>
                      <a:pt x="13889" y="114931"/>
                      <a:pt x="10764" y="118056"/>
                      <a:pt x="6944" y="118056"/>
                    </a:cubicBezTo>
                    <a:close/>
                  </a:path>
                </a:pathLst>
              </a:custGeom>
              <a:grp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55" name="Freeform: Shape 54">
                <a:extLst>
                  <a:ext uri="{FF2B5EF4-FFF2-40B4-BE49-F238E27FC236}">
                    <a16:creationId xmlns:a16="http://schemas.microsoft.com/office/drawing/2014/main" id="{9A91343D-7D00-50E1-CBFA-55594EAA8F20}"/>
                  </a:ext>
                </a:extLst>
              </p:cNvPr>
              <p:cNvSpPr/>
              <p:nvPr/>
            </p:nvSpPr>
            <p:spPr>
              <a:xfrm>
                <a:off x="5370162" y="4074081"/>
                <a:ext cx="132970" cy="147219"/>
              </a:xfrm>
              <a:custGeom>
                <a:avLst/>
                <a:gdLst>
                  <a:gd name="connsiteX0" fmla="*/ 90191 w 180556"/>
                  <a:gd name="connsiteY0" fmla="*/ 180624 h 180556"/>
                  <a:gd name="connsiteX1" fmla="*/ 45399 w 180556"/>
                  <a:gd name="connsiteY1" fmla="*/ 168679 h 180556"/>
                  <a:gd name="connsiteX2" fmla="*/ 3177 w 180556"/>
                  <a:gd name="connsiteY2" fmla="*/ 113957 h 180556"/>
                  <a:gd name="connsiteX3" fmla="*/ 11996 w 180556"/>
                  <a:gd name="connsiteY3" fmla="*/ 45415 h 180556"/>
                  <a:gd name="connsiteX4" fmla="*/ 66719 w 180556"/>
                  <a:gd name="connsiteY4" fmla="*/ 3193 h 180556"/>
                  <a:gd name="connsiteX5" fmla="*/ 135261 w 180556"/>
                  <a:gd name="connsiteY5" fmla="*/ 12012 h 180556"/>
                  <a:gd name="connsiteX6" fmla="*/ 177483 w 180556"/>
                  <a:gd name="connsiteY6" fmla="*/ 66734 h 180556"/>
                  <a:gd name="connsiteX7" fmla="*/ 168664 w 180556"/>
                  <a:gd name="connsiteY7" fmla="*/ 135276 h 180556"/>
                  <a:gd name="connsiteX8" fmla="*/ 90191 w 180556"/>
                  <a:gd name="connsiteY8" fmla="*/ 180624 h 180556"/>
                  <a:gd name="connsiteX9" fmla="*/ 90469 w 180556"/>
                  <a:gd name="connsiteY9" fmla="*/ 13887 h 180556"/>
                  <a:gd name="connsiteX10" fmla="*/ 70399 w 180556"/>
                  <a:gd name="connsiteY10" fmla="*/ 16595 h 180556"/>
                  <a:gd name="connsiteX11" fmla="*/ 24080 w 180556"/>
                  <a:gd name="connsiteY11" fmla="*/ 52290 h 180556"/>
                  <a:gd name="connsiteX12" fmla="*/ 16580 w 180556"/>
                  <a:gd name="connsiteY12" fmla="*/ 110276 h 180556"/>
                  <a:gd name="connsiteX13" fmla="*/ 52274 w 180556"/>
                  <a:gd name="connsiteY13" fmla="*/ 156596 h 180556"/>
                  <a:gd name="connsiteX14" fmla="*/ 110261 w 180556"/>
                  <a:gd name="connsiteY14" fmla="*/ 164096 h 180556"/>
                  <a:gd name="connsiteX15" fmla="*/ 156580 w 180556"/>
                  <a:gd name="connsiteY15" fmla="*/ 128402 h 180556"/>
                  <a:gd name="connsiteX16" fmla="*/ 164080 w 180556"/>
                  <a:gd name="connsiteY16" fmla="*/ 70415 h 180556"/>
                  <a:gd name="connsiteX17" fmla="*/ 128386 w 180556"/>
                  <a:gd name="connsiteY17" fmla="*/ 24095 h 180556"/>
                  <a:gd name="connsiteX18" fmla="*/ 128386 w 180556"/>
                  <a:gd name="connsiteY18" fmla="*/ 24095 h 180556"/>
                  <a:gd name="connsiteX19" fmla="*/ 90469 w 180556"/>
                  <a:gd name="connsiteY19" fmla="*/ 13887 h 18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0556" h="180556">
                    <a:moveTo>
                      <a:pt x="90191" y="180624"/>
                    </a:moveTo>
                    <a:cubicBezTo>
                      <a:pt x="74983" y="180624"/>
                      <a:pt x="59566" y="176805"/>
                      <a:pt x="45399" y="168679"/>
                    </a:cubicBezTo>
                    <a:cubicBezTo>
                      <a:pt x="24496" y="156665"/>
                      <a:pt x="9496" y="137221"/>
                      <a:pt x="3177" y="113957"/>
                    </a:cubicBezTo>
                    <a:cubicBezTo>
                      <a:pt x="-3143" y="90693"/>
                      <a:pt x="52" y="66318"/>
                      <a:pt x="11996" y="45415"/>
                    </a:cubicBezTo>
                    <a:cubicBezTo>
                      <a:pt x="24010" y="24512"/>
                      <a:pt x="43455" y="9512"/>
                      <a:pt x="66719" y="3193"/>
                    </a:cubicBezTo>
                    <a:cubicBezTo>
                      <a:pt x="89983" y="-3127"/>
                      <a:pt x="114358" y="-2"/>
                      <a:pt x="135261" y="12012"/>
                    </a:cubicBezTo>
                    <a:cubicBezTo>
                      <a:pt x="156164" y="24026"/>
                      <a:pt x="171164" y="43470"/>
                      <a:pt x="177483" y="66734"/>
                    </a:cubicBezTo>
                    <a:cubicBezTo>
                      <a:pt x="183803" y="89999"/>
                      <a:pt x="180678" y="114374"/>
                      <a:pt x="168664" y="135276"/>
                    </a:cubicBezTo>
                    <a:cubicBezTo>
                      <a:pt x="151997" y="164304"/>
                      <a:pt x="121511" y="180624"/>
                      <a:pt x="90191" y="180624"/>
                    </a:cubicBezTo>
                    <a:close/>
                    <a:moveTo>
                      <a:pt x="90469" y="13887"/>
                    </a:moveTo>
                    <a:cubicBezTo>
                      <a:pt x="83802" y="13887"/>
                      <a:pt x="76997" y="14790"/>
                      <a:pt x="70399" y="16595"/>
                    </a:cubicBezTo>
                    <a:cubicBezTo>
                      <a:pt x="50677" y="21942"/>
                      <a:pt x="34288" y="34582"/>
                      <a:pt x="24080" y="52290"/>
                    </a:cubicBezTo>
                    <a:cubicBezTo>
                      <a:pt x="13941" y="69998"/>
                      <a:pt x="11302" y="90554"/>
                      <a:pt x="16580" y="110276"/>
                    </a:cubicBezTo>
                    <a:cubicBezTo>
                      <a:pt x="21927" y="129999"/>
                      <a:pt x="34566" y="146388"/>
                      <a:pt x="52274" y="156596"/>
                    </a:cubicBezTo>
                    <a:cubicBezTo>
                      <a:pt x="69983" y="166804"/>
                      <a:pt x="90608" y="169443"/>
                      <a:pt x="110261" y="164096"/>
                    </a:cubicBezTo>
                    <a:cubicBezTo>
                      <a:pt x="129983" y="158749"/>
                      <a:pt x="146372" y="146110"/>
                      <a:pt x="156580" y="128402"/>
                    </a:cubicBezTo>
                    <a:cubicBezTo>
                      <a:pt x="166719" y="110693"/>
                      <a:pt x="169358" y="90137"/>
                      <a:pt x="164080" y="70415"/>
                    </a:cubicBezTo>
                    <a:cubicBezTo>
                      <a:pt x="158733" y="50693"/>
                      <a:pt x="146094" y="34304"/>
                      <a:pt x="128386" y="24095"/>
                    </a:cubicBezTo>
                    <a:lnTo>
                      <a:pt x="128386" y="24095"/>
                    </a:lnTo>
                    <a:cubicBezTo>
                      <a:pt x="116650" y="17359"/>
                      <a:pt x="103663" y="13887"/>
                      <a:pt x="90469" y="13887"/>
                    </a:cubicBezTo>
                    <a:close/>
                  </a:path>
                </a:pathLst>
              </a:custGeom>
              <a:grp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56" name="Freeform: Shape 55">
                <a:extLst>
                  <a:ext uri="{FF2B5EF4-FFF2-40B4-BE49-F238E27FC236}">
                    <a16:creationId xmlns:a16="http://schemas.microsoft.com/office/drawing/2014/main" id="{FC45443E-2DF0-E7A0-A238-BB33431E3072}"/>
                  </a:ext>
                </a:extLst>
              </p:cNvPr>
              <p:cNvSpPr/>
              <p:nvPr/>
            </p:nvSpPr>
            <p:spPr>
              <a:xfrm>
                <a:off x="5487249" y="4176563"/>
                <a:ext cx="35799" cy="28311"/>
              </a:xfrm>
              <a:custGeom>
                <a:avLst/>
                <a:gdLst>
                  <a:gd name="connsiteX0" fmla="*/ 0 w 48611"/>
                  <a:gd name="connsiteY0" fmla="*/ 12046 h 34722"/>
                  <a:gd name="connsiteX1" fmla="*/ 6913 w 48611"/>
                  <a:gd name="connsiteY1" fmla="*/ 0 h 34722"/>
                  <a:gd name="connsiteX2" fmla="*/ 55096 w 48611"/>
                  <a:gd name="connsiteY2" fmla="*/ 27650 h 34722"/>
                  <a:gd name="connsiteX3" fmla="*/ 48184 w 48611"/>
                  <a:gd name="connsiteY3" fmla="*/ 39696 h 34722"/>
                </a:gdLst>
                <a:ahLst/>
                <a:cxnLst>
                  <a:cxn ang="0">
                    <a:pos x="connsiteX0" y="connsiteY0"/>
                  </a:cxn>
                  <a:cxn ang="0">
                    <a:pos x="connsiteX1" y="connsiteY1"/>
                  </a:cxn>
                  <a:cxn ang="0">
                    <a:pos x="connsiteX2" y="connsiteY2"/>
                  </a:cxn>
                  <a:cxn ang="0">
                    <a:pos x="connsiteX3" y="connsiteY3"/>
                  </a:cxn>
                </a:cxnLst>
                <a:rect l="l" t="t" r="r" b="b"/>
                <a:pathLst>
                  <a:path w="48611" h="34722">
                    <a:moveTo>
                      <a:pt x="0" y="12046"/>
                    </a:moveTo>
                    <a:lnTo>
                      <a:pt x="6913" y="0"/>
                    </a:lnTo>
                    <a:lnTo>
                      <a:pt x="55096" y="27650"/>
                    </a:lnTo>
                    <a:lnTo>
                      <a:pt x="48184" y="39696"/>
                    </a:lnTo>
                    <a:close/>
                  </a:path>
                </a:pathLst>
              </a:custGeom>
              <a:grp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sp>
            <p:nvSpPr>
              <p:cNvPr id="57" name="Freeform: Shape 56">
                <a:extLst>
                  <a:ext uri="{FF2B5EF4-FFF2-40B4-BE49-F238E27FC236}">
                    <a16:creationId xmlns:a16="http://schemas.microsoft.com/office/drawing/2014/main" id="{6857BE55-98D8-BD9D-0E76-DE868BEC332A}"/>
                  </a:ext>
                </a:extLst>
              </p:cNvPr>
              <p:cNvSpPr/>
              <p:nvPr/>
            </p:nvSpPr>
            <p:spPr>
              <a:xfrm>
                <a:off x="5508281" y="4180896"/>
                <a:ext cx="76714" cy="67947"/>
              </a:xfrm>
              <a:custGeom>
                <a:avLst/>
                <a:gdLst>
                  <a:gd name="connsiteX0" fmla="*/ 77436 w 104167"/>
                  <a:gd name="connsiteY0" fmla="*/ 87328 h 83333"/>
                  <a:gd name="connsiteX1" fmla="*/ 63686 w 104167"/>
                  <a:gd name="connsiteY1" fmla="*/ 83648 h 83333"/>
                  <a:gd name="connsiteX2" fmla="*/ 3478 w 104167"/>
                  <a:gd name="connsiteY2" fmla="*/ 49064 h 83333"/>
                  <a:gd name="connsiteX3" fmla="*/ 908 w 104167"/>
                  <a:gd name="connsiteY3" fmla="*/ 39620 h 83333"/>
                  <a:gd name="connsiteX4" fmla="*/ 21672 w 104167"/>
                  <a:gd name="connsiteY4" fmla="*/ 3508 h 83333"/>
                  <a:gd name="connsiteX5" fmla="*/ 31186 w 104167"/>
                  <a:gd name="connsiteY5" fmla="*/ 939 h 83333"/>
                  <a:gd name="connsiteX6" fmla="*/ 91395 w 104167"/>
                  <a:gd name="connsiteY6" fmla="*/ 35523 h 83333"/>
                  <a:gd name="connsiteX7" fmla="*/ 104381 w 104167"/>
                  <a:gd name="connsiteY7" fmla="*/ 52328 h 83333"/>
                  <a:gd name="connsiteX8" fmla="*/ 101673 w 104167"/>
                  <a:gd name="connsiteY8" fmla="*/ 73439 h 83333"/>
                  <a:gd name="connsiteX9" fmla="*/ 77436 w 104167"/>
                  <a:gd name="connsiteY9" fmla="*/ 87328 h 83333"/>
                  <a:gd name="connsiteX10" fmla="*/ 16325 w 104167"/>
                  <a:gd name="connsiteY10" fmla="*/ 40523 h 83333"/>
                  <a:gd name="connsiteX11" fmla="*/ 70561 w 104167"/>
                  <a:gd name="connsiteY11" fmla="*/ 71634 h 83333"/>
                  <a:gd name="connsiteX12" fmla="*/ 89520 w 104167"/>
                  <a:gd name="connsiteY12" fmla="*/ 66495 h 83333"/>
                  <a:gd name="connsiteX13" fmla="*/ 90909 w 104167"/>
                  <a:gd name="connsiteY13" fmla="*/ 55939 h 83333"/>
                  <a:gd name="connsiteX14" fmla="*/ 84381 w 104167"/>
                  <a:gd name="connsiteY14" fmla="*/ 47537 h 83333"/>
                  <a:gd name="connsiteX15" fmla="*/ 30144 w 104167"/>
                  <a:gd name="connsiteY15" fmla="*/ 16425 h 83333"/>
                  <a:gd name="connsiteX16" fmla="*/ 16325 w 104167"/>
                  <a:gd name="connsiteY16" fmla="*/ 40523 h 8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167" h="83333">
                    <a:moveTo>
                      <a:pt x="77436" y="87328"/>
                    </a:moveTo>
                    <a:cubicBezTo>
                      <a:pt x="72783" y="87328"/>
                      <a:pt x="67992" y="86148"/>
                      <a:pt x="63686" y="83648"/>
                    </a:cubicBezTo>
                    <a:lnTo>
                      <a:pt x="3478" y="49064"/>
                    </a:lnTo>
                    <a:cubicBezTo>
                      <a:pt x="144" y="47189"/>
                      <a:pt x="-967" y="42884"/>
                      <a:pt x="908" y="39620"/>
                    </a:cubicBezTo>
                    <a:lnTo>
                      <a:pt x="21672" y="3508"/>
                    </a:lnTo>
                    <a:cubicBezTo>
                      <a:pt x="23547" y="175"/>
                      <a:pt x="27783" y="-1005"/>
                      <a:pt x="31186" y="939"/>
                    </a:cubicBezTo>
                    <a:lnTo>
                      <a:pt x="91395" y="35523"/>
                    </a:lnTo>
                    <a:cubicBezTo>
                      <a:pt x="97853" y="39203"/>
                      <a:pt x="102437" y="45175"/>
                      <a:pt x="104381" y="52328"/>
                    </a:cubicBezTo>
                    <a:cubicBezTo>
                      <a:pt x="106325" y="59481"/>
                      <a:pt x="105353" y="66981"/>
                      <a:pt x="101673" y="73439"/>
                    </a:cubicBezTo>
                    <a:cubicBezTo>
                      <a:pt x="96464" y="82328"/>
                      <a:pt x="87020" y="87328"/>
                      <a:pt x="77436" y="87328"/>
                    </a:cubicBezTo>
                    <a:close/>
                    <a:moveTo>
                      <a:pt x="16325" y="40523"/>
                    </a:moveTo>
                    <a:lnTo>
                      <a:pt x="70561" y="71634"/>
                    </a:lnTo>
                    <a:cubicBezTo>
                      <a:pt x="77228" y="75453"/>
                      <a:pt x="85700" y="73162"/>
                      <a:pt x="89520" y="66495"/>
                    </a:cubicBezTo>
                    <a:cubicBezTo>
                      <a:pt x="91395" y="63301"/>
                      <a:pt x="91881" y="59550"/>
                      <a:pt x="90909" y="55939"/>
                    </a:cubicBezTo>
                    <a:cubicBezTo>
                      <a:pt x="89936" y="52328"/>
                      <a:pt x="87645" y="49342"/>
                      <a:pt x="84381" y="47537"/>
                    </a:cubicBezTo>
                    <a:lnTo>
                      <a:pt x="30144" y="16425"/>
                    </a:lnTo>
                    <a:lnTo>
                      <a:pt x="16325" y="40523"/>
                    </a:lnTo>
                    <a:close/>
                  </a:path>
                </a:pathLst>
              </a:custGeom>
              <a:grpFill/>
              <a:ln w="6934" cap="flat">
                <a:noFill/>
                <a:prstDash val="solid"/>
                <a:miter/>
              </a:ln>
            </p:spPr>
            <p:txBody>
              <a:bodyPr rtlCol="0" anchor="ctr"/>
              <a:lstStyle/>
              <a:p>
                <a:pPr defTabSz="914377">
                  <a:defRPr/>
                </a:pPr>
                <a:endParaRPr lang="en-GB">
                  <a:solidFill>
                    <a:prstClr val="black"/>
                  </a:solidFill>
                  <a:latin typeface="Arial"/>
                  <a:ea typeface="Arial Unicode MS"/>
                  <a:cs typeface="Arial"/>
                </a:endParaRPr>
              </a:p>
            </p:txBody>
          </p:sp>
        </p:grpSp>
      </p:grpSp>
      <p:sp>
        <p:nvSpPr>
          <p:cNvPr id="23" name="Rectangle 22">
            <a:extLst>
              <a:ext uri="{FF2B5EF4-FFF2-40B4-BE49-F238E27FC236}">
                <a16:creationId xmlns:a16="http://schemas.microsoft.com/office/drawing/2014/main" id="{D462A503-E994-5371-A0FC-ECF5A8318E6B}"/>
              </a:ext>
            </a:extLst>
          </p:cNvPr>
          <p:cNvSpPr/>
          <p:nvPr/>
        </p:nvSpPr>
        <p:spPr>
          <a:xfrm>
            <a:off x="4813259" y="2620650"/>
            <a:ext cx="2070504" cy="1090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4" name="TextBox 23">
            <a:extLst>
              <a:ext uri="{FF2B5EF4-FFF2-40B4-BE49-F238E27FC236}">
                <a16:creationId xmlns:a16="http://schemas.microsoft.com/office/drawing/2014/main" id="{1D1C9F33-8868-78F1-9285-B288E7D045E9}"/>
              </a:ext>
            </a:extLst>
          </p:cNvPr>
          <p:cNvSpPr txBox="1"/>
          <p:nvPr/>
        </p:nvSpPr>
        <p:spPr>
          <a:xfrm>
            <a:off x="5183306" y="2977197"/>
            <a:ext cx="1350808" cy="369332"/>
          </a:xfrm>
          <a:prstGeom prst="rect">
            <a:avLst/>
          </a:prstGeom>
          <a:noFill/>
          <a:effectLst/>
        </p:spPr>
        <p:txBody>
          <a:bodyPr wrap="square">
            <a:spAutoFit/>
          </a:bodyPr>
          <a:lstStyle/>
          <a:p>
            <a:pPr algn="ctr"/>
            <a:r>
              <a:rPr lang="en-US" b="1">
                <a:solidFill>
                  <a:schemeClr val="bg1"/>
                </a:solidFill>
              </a:rPr>
              <a:t>AI Vendor</a:t>
            </a:r>
          </a:p>
        </p:txBody>
      </p:sp>
      <p:sp>
        <p:nvSpPr>
          <p:cNvPr id="25" name="TextBox 24">
            <a:extLst>
              <a:ext uri="{FF2B5EF4-FFF2-40B4-BE49-F238E27FC236}">
                <a16:creationId xmlns:a16="http://schemas.microsoft.com/office/drawing/2014/main" id="{41377A18-1BFD-B4B4-E9FD-9B40C6FFA514}"/>
              </a:ext>
            </a:extLst>
          </p:cNvPr>
          <p:cNvSpPr txBox="1"/>
          <p:nvPr/>
        </p:nvSpPr>
        <p:spPr>
          <a:xfrm>
            <a:off x="5030385" y="4465151"/>
            <a:ext cx="1314462" cy="218586"/>
          </a:xfrm>
          <a:prstGeom prst="rect">
            <a:avLst/>
          </a:prstGeom>
          <a:noFill/>
          <a:effectLst/>
        </p:spPr>
        <p:txBody>
          <a:bodyPr wrap="none" lIns="0" tIns="0" rIns="0" bIns="0" rtlCol="0">
            <a:spAutoFit/>
          </a:bodyPr>
          <a:lstStyle/>
          <a:p>
            <a:pPr>
              <a:lnSpc>
                <a:spcPct val="110000"/>
              </a:lnSpc>
            </a:pPr>
            <a:r>
              <a:rPr lang="en-US" sz="1400" dirty="0">
                <a:solidFill>
                  <a:schemeClr val="tx2"/>
                </a:solidFill>
              </a:rPr>
              <a:t>Insurance Policy</a:t>
            </a:r>
            <a:endParaRPr lang="de-DE" sz="1400" dirty="0">
              <a:solidFill>
                <a:schemeClr val="tx2"/>
              </a:solidFill>
            </a:endParaRPr>
          </a:p>
        </p:txBody>
      </p:sp>
      <p:sp>
        <p:nvSpPr>
          <p:cNvPr id="26" name="TextBox 25">
            <a:extLst>
              <a:ext uri="{FF2B5EF4-FFF2-40B4-BE49-F238E27FC236}">
                <a16:creationId xmlns:a16="http://schemas.microsoft.com/office/drawing/2014/main" id="{D3F8A0E7-2F02-090C-B322-BA48F86B7D9A}"/>
              </a:ext>
            </a:extLst>
          </p:cNvPr>
          <p:cNvSpPr txBox="1"/>
          <p:nvPr/>
        </p:nvSpPr>
        <p:spPr>
          <a:xfrm>
            <a:off x="7846812" y="2491853"/>
            <a:ext cx="487313" cy="218586"/>
          </a:xfrm>
          <a:prstGeom prst="rect">
            <a:avLst/>
          </a:prstGeom>
          <a:noFill/>
          <a:effectLst/>
        </p:spPr>
        <p:txBody>
          <a:bodyPr wrap="none" lIns="0" tIns="0" rIns="0" bIns="0" rtlCol="0">
            <a:spAutoFit/>
          </a:bodyPr>
          <a:lstStyle/>
          <a:p>
            <a:pPr>
              <a:lnSpc>
                <a:spcPct val="110000"/>
              </a:lnSpc>
            </a:pPr>
            <a:r>
              <a:rPr lang="en-US" sz="1400">
                <a:solidFill>
                  <a:schemeClr val="tx2"/>
                </a:solidFill>
              </a:rPr>
              <a:t>Model</a:t>
            </a:r>
            <a:endParaRPr lang="de-DE" sz="1400" err="1">
              <a:solidFill>
                <a:schemeClr val="tx2"/>
              </a:solidFill>
            </a:endParaRPr>
          </a:p>
        </p:txBody>
      </p:sp>
      <p:cxnSp>
        <p:nvCxnSpPr>
          <p:cNvPr id="66" name="Straight Arrow Connector 65">
            <a:extLst>
              <a:ext uri="{FF2B5EF4-FFF2-40B4-BE49-F238E27FC236}">
                <a16:creationId xmlns:a16="http://schemas.microsoft.com/office/drawing/2014/main" id="{9AF2808F-1EF1-9273-CE28-4C647EC1E977}"/>
              </a:ext>
            </a:extLst>
          </p:cNvPr>
          <p:cNvCxnSpPr/>
          <p:nvPr/>
        </p:nvCxnSpPr>
        <p:spPr>
          <a:xfrm flipH="1" flipV="1">
            <a:off x="6203041" y="4113415"/>
            <a:ext cx="572513" cy="570322"/>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EB40F63E-6983-F5A0-DD63-AF762F92B2D7}"/>
              </a:ext>
            </a:extLst>
          </p:cNvPr>
          <p:cNvCxnSpPr>
            <a:cxnSpLocks/>
          </p:cNvCxnSpPr>
          <p:nvPr/>
        </p:nvCxnSpPr>
        <p:spPr>
          <a:xfrm>
            <a:off x="7427165" y="2901912"/>
            <a:ext cx="1559652"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18C6038-546D-54C5-7FB7-947CD38F9159}"/>
              </a:ext>
            </a:extLst>
          </p:cNvPr>
          <p:cNvCxnSpPr>
            <a:cxnSpLocks/>
          </p:cNvCxnSpPr>
          <p:nvPr/>
        </p:nvCxnSpPr>
        <p:spPr>
          <a:xfrm>
            <a:off x="7427165" y="3335100"/>
            <a:ext cx="1559652" cy="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54B455A4-C6E7-C90B-C6DB-A1BEB26C997E}"/>
              </a:ext>
            </a:extLst>
          </p:cNvPr>
          <p:cNvSpPr txBox="1"/>
          <p:nvPr/>
        </p:nvSpPr>
        <p:spPr>
          <a:xfrm>
            <a:off x="7535300" y="3582618"/>
            <a:ext cx="1074012" cy="455574"/>
          </a:xfrm>
          <a:prstGeom prst="rect">
            <a:avLst/>
          </a:prstGeom>
          <a:noFill/>
          <a:effectLst/>
        </p:spPr>
        <p:txBody>
          <a:bodyPr wrap="none" lIns="0" tIns="0" rIns="0" bIns="0" rtlCol="0">
            <a:spAutoFit/>
          </a:bodyPr>
          <a:lstStyle/>
          <a:p>
            <a:pPr algn="ctr">
              <a:lnSpc>
                <a:spcPct val="110000"/>
              </a:lnSpc>
            </a:pPr>
            <a:r>
              <a:rPr lang="en-US" sz="1400">
                <a:solidFill>
                  <a:schemeClr val="tx2"/>
                </a:solidFill>
              </a:rPr>
              <a:t>Performance </a:t>
            </a:r>
          </a:p>
          <a:p>
            <a:pPr algn="ctr">
              <a:lnSpc>
                <a:spcPct val="110000"/>
              </a:lnSpc>
            </a:pPr>
            <a:r>
              <a:rPr lang="en-US" sz="1400">
                <a:solidFill>
                  <a:schemeClr val="tx2"/>
                </a:solidFill>
              </a:rPr>
              <a:t>guarantees</a:t>
            </a:r>
            <a:endParaRPr lang="de-DE" sz="1400" err="1">
              <a:solidFill>
                <a:schemeClr val="tx2"/>
              </a:solidFill>
            </a:endParaRPr>
          </a:p>
        </p:txBody>
      </p:sp>
      <p:sp>
        <p:nvSpPr>
          <p:cNvPr id="77" name="Rectangle 76">
            <a:extLst>
              <a:ext uri="{FF2B5EF4-FFF2-40B4-BE49-F238E27FC236}">
                <a16:creationId xmlns:a16="http://schemas.microsoft.com/office/drawing/2014/main" id="{949BB99C-695C-38C5-8379-D01AEF2328C8}"/>
              </a:ext>
            </a:extLst>
          </p:cNvPr>
          <p:cNvSpPr/>
          <p:nvPr/>
        </p:nvSpPr>
        <p:spPr>
          <a:xfrm>
            <a:off x="9406882" y="2624841"/>
            <a:ext cx="2070504" cy="10907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85" name="TextBox 84">
            <a:extLst>
              <a:ext uri="{FF2B5EF4-FFF2-40B4-BE49-F238E27FC236}">
                <a16:creationId xmlns:a16="http://schemas.microsoft.com/office/drawing/2014/main" id="{D792C817-74E0-D910-BD31-FF5323C201A0}"/>
              </a:ext>
            </a:extLst>
          </p:cNvPr>
          <p:cNvSpPr txBox="1"/>
          <p:nvPr/>
        </p:nvSpPr>
        <p:spPr>
          <a:xfrm>
            <a:off x="9776929" y="2981388"/>
            <a:ext cx="1350808" cy="369332"/>
          </a:xfrm>
          <a:prstGeom prst="rect">
            <a:avLst/>
          </a:prstGeom>
          <a:noFill/>
          <a:effectLst/>
        </p:spPr>
        <p:txBody>
          <a:bodyPr wrap="square">
            <a:spAutoFit/>
          </a:bodyPr>
          <a:lstStyle/>
          <a:p>
            <a:pPr algn="ctr"/>
            <a:r>
              <a:rPr lang="en-US" b="1">
                <a:solidFill>
                  <a:schemeClr val="bg1"/>
                </a:solidFill>
              </a:rPr>
              <a:t>End User</a:t>
            </a:r>
          </a:p>
        </p:txBody>
      </p:sp>
      <p:sp>
        <p:nvSpPr>
          <p:cNvPr id="86" name="Rectangle 85">
            <a:extLst>
              <a:ext uri="{FF2B5EF4-FFF2-40B4-BE49-F238E27FC236}">
                <a16:creationId xmlns:a16="http://schemas.microsoft.com/office/drawing/2014/main" id="{8C4CDC15-4654-6448-0DDB-54847B3AB8BC}"/>
              </a:ext>
            </a:extLst>
          </p:cNvPr>
          <p:cNvSpPr/>
          <p:nvPr/>
        </p:nvSpPr>
        <p:spPr>
          <a:xfrm>
            <a:off x="7228601" y="4401152"/>
            <a:ext cx="2070504" cy="1090760"/>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87" name="TextBox 86">
            <a:extLst>
              <a:ext uri="{FF2B5EF4-FFF2-40B4-BE49-F238E27FC236}">
                <a16:creationId xmlns:a16="http://schemas.microsoft.com/office/drawing/2014/main" id="{8B946260-DAA9-E6E1-A19F-A987BD75192B}"/>
              </a:ext>
            </a:extLst>
          </p:cNvPr>
          <p:cNvSpPr txBox="1"/>
          <p:nvPr/>
        </p:nvSpPr>
        <p:spPr>
          <a:xfrm>
            <a:off x="7535300" y="4834340"/>
            <a:ext cx="1350808" cy="369332"/>
          </a:xfrm>
          <a:prstGeom prst="rect">
            <a:avLst/>
          </a:prstGeom>
          <a:noFill/>
          <a:effectLst/>
        </p:spPr>
        <p:txBody>
          <a:bodyPr wrap="square">
            <a:spAutoFit/>
          </a:bodyPr>
          <a:lstStyle/>
          <a:p>
            <a:pPr algn="ctr"/>
            <a:r>
              <a:rPr lang="en-US" b="1" dirty="0">
                <a:solidFill>
                  <a:schemeClr val="bg1"/>
                </a:solidFill>
              </a:rPr>
              <a:t>Munich Re</a:t>
            </a:r>
          </a:p>
        </p:txBody>
      </p:sp>
    </p:spTree>
    <p:extLst>
      <p:ext uri="{BB962C8B-B14F-4D97-AF65-F5344CB8AC3E}">
        <p14:creationId xmlns:p14="http://schemas.microsoft.com/office/powerpoint/2010/main" val="213094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p:bldP spid="25" grpId="0"/>
      <p:bldP spid="26" grpId="0"/>
      <p:bldP spid="73" grpId="0"/>
      <p:bldP spid="77" grpId="0" animBg="1"/>
      <p:bldP spid="85" grpId="0"/>
      <p:bldP spid="8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DD5F02-AC4C-4BFC-ACFC-B065E36910F7}"/>
              </a:ext>
            </a:extLst>
          </p:cNvPr>
          <p:cNvSpPr>
            <a:spLocks noGrp="1"/>
          </p:cNvSpPr>
          <p:nvPr>
            <p:ph type="sldNum" sz="quarter" idx="11"/>
          </p:nvPr>
        </p:nvSpPr>
        <p:spPr/>
        <p:txBody>
          <a:bodyPr/>
          <a:lstStyle/>
          <a:p>
            <a:fld id="{D94909C6-CC71-4962-A18E-AF0515723D95}" type="slidenum">
              <a:rPr lang="en-GB" smtClean="0"/>
              <a:pPr/>
              <a:t>5</a:t>
            </a:fld>
            <a:endParaRPr lang="en-GB"/>
          </a:p>
        </p:txBody>
      </p:sp>
      <p:cxnSp>
        <p:nvCxnSpPr>
          <p:cNvPr id="17" name="Straight Arrow Connector 16">
            <a:extLst>
              <a:ext uri="{FF2B5EF4-FFF2-40B4-BE49-F238E27FC236}">
                <a16:creationId xmlns:a16="http://schemas.microsoft.com/office/drawing/2014/main" id="{67B785BA-7BCD-A10F-A003-BA9B4E49FB08}"/>
              </a:ext>
            </a:extLst>
          </p:cNvPr>
          <p:cNvCxnSpPr>
            <a:cxnSpLocks/>
          </p:cNvCxnSpPr>
          <p:nvPr/>
        </p:nvCxnSpPr>
        <p:spPr>
          <a:xfrm>
            <a:off x="5243804" y="5874686"/>
            <a:ext cx="7049083" cy="1297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 name="Freeform: Shape 2">
            <a:extLst>
              <a:ext uri="{FF2B5EF4-FFF2-40B4-BE49-F238E27FC236}">
                <a16:creationId xmlns:a16="http://schemas.microsoft.com/office/drawing/2014/main" id="{7D375D6C-23AB-BDB2-4E46-7F6ABB92D935}"/>
              </a:ext>
            </a:extLst>
          </p:cNvPr>
          <p:cNvSpPr/>
          <p:nvPr/>
        </p:nvSpPr>
        <p:spPr>
          <a:xfrm>
            <a:off x="7447766" y="3741565"/>
            <a:ext cx="421241" cy="1397285"/>
          </a:xfrm>
          <a:custGeom>
            <a:avLst/>
            <a:gdLst>
              <a:gd name="connsiteX0" fmla="*/ 0 w 421241"/>
              <a:gd name="connsiteY0" fmla="*/ 1397285 h 1397285"/>
              <a:gd name="connsiteX1" fmla="*/ 421241 w 421241"/>
              <a:gd name="connsiteY1" fmla="*/ 0 h 1397285"/>
              <a:gd name="connsiteX2" fmla="*/ 421241 w 421241"/>
              <a:gd name="connsiteY2" fmla="*/ 0 h 1397285"/>
            </a:gdLst>
            <a:ahLst/>
            <a:cxnLst>
              <a:cxn ang="0">
                <a:pos x="connsiteX0" y="connsiteY0"/>
              </a:cxn>
              <a:cxn ang="0">
                <a:pos x="connsiteX1" y="connsiteY1"/>
              </a:cxn>
              <a:cxn ang="0">
                <a:pos x="connsiteX2" y="connsiteY2"/>
              </a:cxn>
            </a:cxnLst>
            <a:rect l="l" t="t" r="r" b="b"/>
            <a:pathLst>
              <a:path w="421241" h="1397285">
                <a:moveTo>
                  <a:pt x="0" y="1397285"/>
                </a:moveTo>
                <a:lnTo>
                  <a:pt x="421241" y="0"/>
                </a:lnTo>
                <a:lnTo>
                  <a:pt x="421241"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Freeform: Shape 9">
            <a:extLst>
              <a:ext uri="{FF2B5EF4-FFF2-40B4-BE49-F238E27FC236}">
                <a16:creationId xmlns:a16="http://schemas.microsoft.com/office/drawing/2014/main" id="{71C8F2C2-5F85-8817-4122-1EE5CD71BF1B}"/>
              </a:ext>
            </a:extLst>
          </p:cNvPr>
          <p:cNvSpPr/>
          <p:nvPr/>
        </p:nvSpPr>
        <p:spPr>
          <a:xfrm>
            <a:off x="7124281" y="4477331"/>
            <a:ext cx="71022" cy="905522"/>
          </a:xfrm>
          <a:custGeom>
            <a:avLst/>
            <a:gdLst>
              <a:gd name="connsiteX0" fmla="*/ 0 w 71022"/>
              <a:gd name="connsiteY0" fmla="*/ 905522 h 905522"/>
              <a:gd name="connsiteX1" fmla="*/ 71022 w 71022"/>
              <a:gd name="connsiteY1" fmla="*/ 0 h 905522"/>
              <a:gd name="connsiteX2" fmla="*/ 71022 w 71022"/>
              <a:gd name="connsiteY2" fmla="*/ 0 h 905522"/>
            </a:gdLst>
            <a:ahLst/>
            <a:cxnLst>
              <a:cxn ang="0">
                <a:pos x="connsiteX0" y="connsiteY0"/>
              </a:cxn>
              <a:cxn ang="0">
                <a:pos x="connsiteX1" y="connsiteY1"/>
              </a:cxn>
              <a:cxn ang="0">
                <a:pos x="connsiteX2" y="connsiteY2"/>
              </a:cxn>
            </a:cxnLst>
            <a:rect l="l" t="t" r="r" b="b"/>
            <a:pathLst>
              <a:path w="71022" h="905522">
                <a:moveTo>
                  <a:pt x="0" y="905522"/>
                </a:moveTo>
                <a:lnTo>
                  <a:pt x="71022" y="0"/>
                </a:lnTo>
                <a:lnTo>
                  <a:pt x="71022"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Freeform: Shape 10">
            <a:extLst>
              <a:ext uri="{FF2B5EF4-FFF2-40B4-BE49-F238E27FC236}">
                <a16:creationId xmlns:a16="http://schemas.microsoft.com/office/drawing/2014/main" id="{A39F8786-0F01-398F-BBC0-F05BC8486A1D}"/>
              </a:ext>
            </a:extLst>
          </p:cNvPr>
          <p:cNvSpPr/>
          <p:nvPr/>
        </p:nvSpPr>
        <p:spPr>
          <a:xfrm>
            <a:off x="7150914" y="3971304"/>
            <a:ext cx="319597" cy="1411549"/>
          </a:xfrm>
          <a:custGeom>
            <a:avLst/>
            <a:gdLst>
              <a:gd name="connsiteX0" fmla="*/ 0 w 319597"/>
              <a:gd name="connsiteY0" fmla="*/ 1411549 h 1411549"/>
              <a:gd name="connsiteX1" fmla="*/ 319597 w 319597"/>
              <a:gd name="connsiteY1" fmla="*/ 0 h 1411549"/>
              <a:gd name="connsiteX2" fmla="*/ 319597 w 319597"/>
              <a:gd name="connsiteY2" fmla="*/ 0 h 1411549"/>
            </a:gdLst>
            <a:ahLst/>
            <a:cxnLst>
              <a:cxn ang="0">
                <a:pos x="connsiteX0" y="connsiteY0"/>
              </a:cxn>
              <a:cxn ang="0">
                <a:pos x="connsiteX1" y="connsiteY1"/>
              </a:cxn>
              <a:cxn ang="0">
                <a:pos x="connsiteX2" y="connsiteY2"/>
              </a:cxn>
            </a:cxnLst>
            <a:rect l="l" t="t" r="r" b="b"/>
            <a:pathLst>
              <a:path w="319597" h="1411549">
                <a:moveTo>
                  <a:pt x="0" y="1411549"/>
                </a:moveTo>
                <a:lnTo>
                  <a:pt x="319597" y="0"/>
                </a:lnTo>
                <a:lnTo>
                  <a:pt x="319597"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 name="Straight Arrow Connector 12">
            <a:extLst>
              <a:ext uri="{FF2B5EF4-FFF2-40B4-BE49-F238E27FC236}">
                <a16:creationId xmlns:a16="http://schemas.microsoft.com/office/drawing/2014/main" id="{92AFFFE4-0305-A270-9798-C2D833142AF1}"/>
              </a:ext>
            </a:extLst>
          </p:cNvPr>
          <p:cNvCxnSpPr>
            <a:cxnSpLocks/>
          </p:cNvCxnSpPr>
          <p:nvPr/>
        </p:nvCxnSpPr>
        <p:spPr>
          <a:xfrm flipV="1">
            <a:off x="6735310" y="5115371"/>
            <a:ext cx="4161290" cy="446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9A4C31D0-97A3-E694-BDA7-DE931A990B28}"/>
              </a:ext>
            </a:extLst>
          </p:cNvPr>
          <p:cNvCxnSpPr>
            <a:cxnSpLocks/>
          </p:cNvCxnSpPr>
          <p:nvPr/>
        </p:nvCxnSpPr>
        <p:spPr>
          <a:xfrm flipV="1">
            <a:off x="6877689" y="1876425"/>
            <a:ext cx="0" cy="34028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321A1FB-8D4A-A9F6-903C-329B8279185B}"/>
              </a:ext>
            </a:extLst>
          </p:cNvPr>
          <p:cNvSpPr txBox="1"/>
          <p:nvPr/>
        </p:nvSpPr>
        <p:spPr>
          <a:xfrm>
            <a:off x="6574589" y="3514519"/>
            <a:ext cx="853850" cy="218586"/>
          </a:xfrm>
          <a:prstGeom prst="rect">
            <a:avLst/>
          </a:prstGeom>
          <a:noFill/>
          <a:effectLst/>
        </p:spPr>
        <p:txBody>
          <a:bodyPr wrap="square" lIns="0" tIns="0" rIns="0" bIns="0" rtlCol="0">
            <a:spAutoFit/>
          </a:bodyPr>
          <a:lstStyle/>
          <a:p>
            <a:pPr>
              <a:lnSpc>
                <a:spcPct val="110000"/>
              </a:lnSpc>
            </a:pPr>
            <a:r>
              <a:rPr lang="en-US" sz="1400"/>
              <a:t>y</a:t>
            </a:r>
            <a:endParaRPr lang="de-DE" sz="1400"/>
          </a:p>
        </p:txBody>
      </p:sp>
      <p:sp>
        <p:nvSpPr>
          <p:cNvPr id="18" name="TextBox 17">
            <a:extLst>
              <a:ext uri="{FF2B5EF4-FFF2-40B4-BE49-F238E27FC236}">
                <a16:creationId xmlns:a16="http://schemas.microsoft.com/office/drawing/2014/main" id="{5CE4DD51-BAFE-A682-8045-8AFEC41334E5}"/>
              </a:ext>
            </a:extLst>
          </p:cNvPr>
          <p:cNvSpPr txBox="1"/>
          <p:nvPr/>
        </p:nvSpPr>
        <p:spPr>
          <a:xfrm>
            <a:off x="8618931" y="5222708"/>
            <a:ext cx="853850" cy="160145"/>
          </a:xfrm>
          <a:prstGeom prst="rect">
            <a:avLst/>
          </a:prstGeom>
          <a:noFill/>
          <a:effectLst/>
        </p:spPr>
        <p:txBody>
          <a:bodyPr wrap="square" lIns="0" tIns="0" rIns="0" bIns="0" rtlCol="0">
            <a:spAutoFit/>
          </a:bodyPr>
          <a:lstStyle/>
          <a:p>
            <a:pPr>
              <a:lnSpc>
                <a:spcPct val="110000"/>
              </a:lnSpc>
            </a:pPr>
            <a:r>
              <a:rPr lang="en-US" sz="1400"/>
              <a:t>x</a:t>
            </a:r>
            <a:endParaRPr lang="de-DE" sz="1400"/>
          </a:p>
        </p:txBody>
      </p:sp>
      <p:sp>
        <p:nvSpPr>
          <p:cNvPr id="19" name="Freeform: Shape 18">
            <a:extLst>
              <a:ext uri="{FF2B5EF4-FFF2-40B4-BE49-F238E27FC236}">
                <a16:creationId xmlns:a16="http://schemas.microsoft.com/office/drawing/2014/main" id="{D1EF9257-06B9-6E26-0A1E-9485B6DDC437}"/>
              </a:ext>
            </a:extLst>
          </p:cNvPr>
          <p:cNvSpPr/>
          <p:nvPr/>
        </p:nvSpPr>
        <p:spPr>
          <a:xfrm>
            <a:off x="7355407" y="2728489"/>
            <a:ext cx="2641451" cy="1749618"/>
          </a:xfrm>
          <a:custGeom>
            <a:avLst/>
            <a:gdLst>
              <a:gd name="connsiteX0" fmla="*/ 0 w 3400147"/>
              <a:gd name="connsiteY0" fmla="*/ 2965141 h 2965141"/>
              <a:gd name="connsiteX1" fmla="*/ 523782 w 3400147"/>
              <a:gd name="connsiteY1" fmla="*/ 1447060 h 2965141"/>
              <a:gd name="connsiteX2" fmla="*/ 2388093 w 3400147"/>
              <a:gd name="connsiteY2" fmla="*/ 905522 h 2965141"/>
              <a:gd name="connsiteX3" fmla="*/ 3400147 w 3400147"/>
              <a:gd name="connsiteY3" fmla="*/ 0 h 2965141"/>
            </a:gdLst>
            <a:ahLst/>
            <a:cxnLst>
              <a:cxn ang="0">
                <a:pos x="connsiteX0" y="connsiteY0"/>
              </a:cxn>
              <a:cxn ang="0">
                <a:pos x="connsiteX1" y="connsiteY1"/>
              </a:cxn>
              <a:cxn ang="0">
                <a:pos x="connsiteX2" y="connsiteY2"/>
              </a:cxn>
              <a:cxn ang="0">
                <a:pos x="connsiteX3" y="connsiteY3"/>
              </a:cxn>
            </a:cxnLst>
            <a:rect l="l" t="t" r="r" b="b"/>
            <a:pathLst>
              <a:path w="3400147" h="2965141">
                <a:moveTo>
                  <a:pt x="0" y="2965141"/>
                </a:moveTo>
                <a:cubicBezTo>
                  <a:pt x="62883" y="2377735"/>
                  <a:pt x="125767" y="1790330"/>
                  <a:pt x="523782" y="1447060"/>
                </a:cubicBezTo>
                <a:cubicBezTo>
                  <a:pt x="921798" y="1103790"/>
                  <a:pt x="1908699" y="1146699"/>
                  <a:pt x="2388093" y="905522"/>
                </a:cubicBezTo>
                <a:cubicBezTo>
                  <a:pt x="2867487" y="664345"/>
                  <a:pt x="3133817" y="332172"/>
                  <a:pt x="3400147" y="0"/>
                </a:cubicBezTo>
              </a:path>
            </a:pathLst>
          </a:custGeom>
          <a:ln>
            <a:solidFill>
              <a:schemeClr val="accent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e-DE"/>
          </a:p>
        </p:txBody>
      </p:sp>
      <p:sp>
        <p:nvSpPr>
          <p:cNvPr id="20" name="Oval 19">
            <a:extLst>
              <a:ext uri="{FF2B5EF4-FFF2-40B4-BE49-F238E27FC236}">
                <a16:creationId xmlns:a16="http://schemas.microsoft.com/office/drawing/2014/main" id="{B7076D6A-407F-9BA5-EB2A-8087CE50D71E}"/>
              </a:ext>
            </a:extLst>
          </p:cNvPr>
          <p:cNvSpPr/>
          <p:nvPr/>
        </p:nvSpPr>
        <p:spPr>
          <a:xfrm>
            <a:off x="7658386" y="3048780"/>
            <a:ext cx="64084" cy="64084"/>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1" name="Oval 20">
            <a:extLst>
              <a:ext uri="{FF2B5EF4-FFF2-40B4-BE49-F238E27FC236}">
                <a16:creationId xmlns:a16="http://schemas.microsoft.com/office/drawing/2014/main" id="{33E7C998-74BC-C8AF-7D0C-F7EB2FE4CF7D}"/>
              </a:ext>
            </a:extLst>
          </p:cNvPr>
          <p:cNvSpPr/>
          <p:nvPr/>
        </p:nvSpPr>
        <p:spPr>
          <a:xfrm>
            <a:off x="7447766" y="3594654"/>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2" name="Oval 21">
            <a:extLst>
              <a:ext uri="{FF2B5EF4-FFF2-40B4-BE49-F238E27FC236}">
                <a16:creationId xmlns:a16="http://schemas.microsoft.com/office/drawing/2014/main" id="{B6899295-BDD7-50A3-410F-293C2260D633}"/>
              </a:ext>
            </a:extLst>
          </p:cNvPr>
          <p:cNvSpPr/>
          <p:nvPr/>
        </p:nvSpPr>
        <p:spPr>
          <a:xfrm>
            <a:off x="7479599" y="4272564"/>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3" name="Oval 22">
            <a:extLst>
              <a:ext uri="{FF2B5EF4-FFF2-40B4-BE49-F238E27FC236}">
                <a16:creationId xmlns:a16="http://schemas.microsoft.com/office/drawing/2014/main" id="{860CB43E-BB0B-E2D2-AFF7-58E0CD9E5BCD}"/>
              </a:ext>
            </a:extLst>
          </p:cNvPr>
          <p:cNvSpPr/>
          <p:nvPr/>
        </p:nvSpPr>
        <p:spPr>
          <a:xfrm>
            <a:off x="8658228" y="3669021"/>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4" name="Oval 23">
            <a:extLst>
              <a:ext uri="{FF2B5EF4-FFF2-40B4-BE49-F238E27FC236}">
                <a16:creationId xmlns:a16="http://schemas.microsoft.com/office/drawing/2014/main" id="{A350A873-41A1-7F99-6EF1-4F2B1E93D145}"/>
              </a:ext>
            </a:extLst>
          </p:cNvPr>
          <p:cNvSpPr/>
          <p:nvPr/>
        </p:nvSpPr>
        <p:spPr>
          <a:xfrm>
            <a:off x="8676132" y="3225459"/>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5" name="Oval 24">
            <a:extLst>
              <a:ext uri="{FF2B5EF4-FFF2-40B4-BE49-F238E27FC236}">
                <a16:creationId xmlns:a16="http://schemas.microsoft.com/office/drawing/2014/main" id="{28950F79-A1AF-ACE1-9E39-334789A1EF49}"/>
              </a:ext>
            </a:extLst>
          </p:cNvPr>
          <p:cNvSpPr/>
          <p:nvPr/>
        </p:nvSpPr>
        <p:spPr>
          <a:xfrm>
            <a:off x="9045856" y="3406316"/>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6" name="Oval 25">
            <a:extLst>
              <a:ext uri="{FF2B5EF4-FFF2-40B4-BE49-F238E27FC236}">
                <a16:creationId xmlns:a16="http://schemas.microsoft.com/office/drawing/2014/main" id="{2FC7B0CA-77FF-F85D-12C6-5128F7CBFF14}"/>
              </a:ext>
            </a:extLst>
          </p:cNvPr>
          <p:cNvSpPr/>
          <p:nvPr/>
        </p:nvSpPr>
        <p:spPr>
          <a:xfrm>
            <a:off x="9198577" y="2927694"/>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7" name="Oval 26">
            <a:extLst>
              <a:ext uri="{FF2B5EF4-FFF2-40B4-BE49-F238E27FC236}">
                <a16:creationId xmlns:a16="http://schemas.microsoft.com/office/drawing/2014/main" id="{9132FABB-F14E-2272-A95A-BB0D51C8D729}"/>
              </a:ext>
            </a:extLst>
          </p:cNvPr>
          <p:cNvSpPr/>
          <p:nvPr/>
        </p:nvSpPr>
        <p:spPr>
          <a:xfrm>
            <a:off x="9583514" y="3277184"/>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29" name="Oval 28">
            <a:extLst>
              <a:ext uri="{FF2B5EF4-FFF2-40B4-BE49-F238E27FC236}">
                <a16:creationId xmlns:a16="http://schemas.microsoft.com/office/drawing/2014/main" id="{74B5125E-545F-44CC-9444-9588B1530DC3}"/>
              </a:ext>
            </a:extLst>
          </p:cNvPr>
          <p:cNvSpPr/>
          <p:nvPr/>
        </p:nvSpPr>
        <p:spPr>
          <a:xfrm>
            <a:off x="7994863" y="3675152"/>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0" name="Oval 29">
            <a:extLst>
              <a:ext uri="{FF2B5EF4-FFF2-40B4-BE49-F238E27FC236}">
                <a16:creationId xmlns:a16="http://schemas.microsoft.com/office/drawing/2014/main" id="{03AB5A3C-AA16-0ADB-5DA0-A28A9A823517}"/>
              </a:ext>
            </a:extLst>
          </p:cNvPr>
          <p:cNvSpPr/>
          <p:nvPr/>
        </p:nvSpPr>
        <p:spPr>
          <a:xfrm>
            <a:off x="8010603" y="3319199"/>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1" name="Oval 30">
            <a:extLst>
              <a:ext uri="{FF2B5EF4-FFF2-40B4-BE49-F238E27FC236}">
                <a16:creationId xmlns:a16="http://schemas.microsoft.com/office/drawing/2014/main" id="{1D24A068-AB0B-3B69-30EA-D87ADB073C39}"/>
              </a:ext>
            </a:extLst>
          </p:cNvPr>
          <p:cNvSpPr/>
          <p:nvPr/>
        </p:nvSpPr>
        <p:spPr>
          <a:xfrm>
            <a:off x="8799778" y="2784852"/>
            <a:ext cx="64084" cy="64084"/>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2" name="Oval 31">
            <a:extLst>
              <a:ext uri="{FF2B5EF4-FFF2-40B4-BE49-F238E27FC236}">
                <a16:creationId xmlns:a16="http://schemas.microsoft.com/office/drawing/2014/main" id="{9C99BC1B-54DB-5888-A805-771AD81223FA}"/>
              </a:ext>
            </a:extLst>
          </p:cNvPr>
          <p:cNvSpPr/>
          <p:nvPr/>
        </p:nvSpPr>
        <p:spPr>
          <a:xfrm>
            <a:off x="9752194" y="2838746"/>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4" name="Oval 33">
            <a:extLst>
              <a:ext uri="{FF2B5EF4-FFF2-40B4-BE49-F238E27FC236}">
                <a16:creationId xmlns:a16="http://schemas.microsoft.com/office/drawing/2014/main" id="{3581CB7A-F167-C44C-647A-1FEC744F2ACD}"/>
              </a:ext>
            </a:extLst>
          </p:cNvPr>
          <p:cNvSpPr/>
          <p:nvPr/>
        </p:nvSpPr>
        <p:spPr>
          <a:xfrm>
            <a:off x="9733094" y="3374274"/>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5" name="Oval 34">
            <a:extLst>
              <a:ext uri="{FF2B5EF4-FFF2-40B4-BE49-F238E27FC236}">
                <a16:creationId xmlns:a16="http://schemas.microsoft.com/office/drawing/2014/main" id="{10AF5232-1947-CDF2-F9F5-33007513495C}"/>
              </a:ext>
            </a:extLst>
          </p:cNvPr>
          <p:cNvSpPr/>
          <p:nvPr/>
        </p:nvSpPr>
        <p:spPr>
          <a:xfrm>
            <a:off x="8026905" y="4390585"/>
            <a:ext cx="64084" cy="64084"/>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6" name="Oval 35">
            <a:extLst>
              <a:ext uri="{FF2B5EF4-FFF2-40B4-BE49-F238E27FC236}">
                <a16:creationId xmlns:a16="http://schemas.microsoft.com/office/drawing/2014/main" id="{23C4C593-817F-1C05-A447-69AF139FB4C7}"/>
              </a:ext>
            </a:extLst>
          </p:cNvPr>
          <p:cNvSpPr/>
          <p:nvPr/>
        </p:nvSpPr>
        <p:spPr>
          <a:xfrm>
            <a:off x="7287202" y="4080541"/>
            <a:ext cx="64084" cy="64084"/>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37" name="Oval 36">
            <a:extLst>
              <a:ext uri="{FF2B5EF4-FFF2-40B4-BE49-F238E27FC236}">
                <a16:creationId xmlns:a16="http://schemas.microsoft.com/office/drawing/2014/main" id="{0FF8E73E-15F1-9FA3-47EC-7A888AAA6094}"/>
              </a:ext>
            </a:extLst>
          </p:cNvPr>
          <p:cNvSpPr/>
          <p:nvPr/>
        </p:nvSpPr>
        <p:spPr>
          <a:xfrm>
            <a:off x="9019569" y="2364466"/>
            <a:ext cx="64084" cy="64084"/>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mc:AlternateContent xmlns:mc="http://schemas.openxmlformats.org/markup-compatibility/2006" xmlns:a14="http://schemas.microsoft.com/office/drawing/2010/main">
        <mc:Choice Requires="a14">
          <p:sp>
            <p:nvSpPr>
              <p:cNvPr id="38" name="TextBox 37">
                <a:extLst>
                  <a:ext uri="{FF2B5EF4-FFF2-40B4-BE49-F238E27FC236}">
                    <a16:creationId xmlns:a16="http://schemas.microsoft.com/office/drawing/2014/main" id="{D472C3FD-BC97-2C3F-5A61-39AE92B7FA22}"/>
                  </a:ext>
                </a:extLst>
              </p:cNvPr>
              <p:cNvSpPr txBox="1"/>
              <p:nvPr/>
            </p:nvSpPr>
            <p:spPr>
              <a:xfrm>
                <a:off x="10117693" y="2576329"/>
                <a:ext cx="853850" cy="218586"/>
              </a:xfrm>
              <a:prstGeom prst="rect">
                <a:avLst/>
              </a:prstGeom>
              <a:noFill/>
              <a:effectLst/>
            </p:spPr>
            <p:txBody>
              <a:bodyPr wrap="square" lIns="0" tIns="0" rIns="0" bIns="0" rtlCol="0">
                <a:spAutoFit/>
              </a:bodyPr>
              <a:lstStyle/>
              <a:p>
                <a:pPr>
                  <a:lnSpc>
                    <a:spcPct val="110000"/>
                  </a:lnSpc>
                </a:pPr>
                <a14:m>
                  <m:oMath xmlns:m="http://schemas.openxmlformats.org/officeDocument/2006/math">
                    <m:acc>
                      <m:accPr>
                        <m:chr m:val="̂"/>
                        <m:ctrlPr>
                          <a:rPr lang="en-US" sz="1400" i="1" smtClean="0">
                            <a:latin typeface="Cambria Math" panose="02040503050406030204" pitchFamily="18" charset="0"/>
                          </a:rPr>
                        </m:ctrlPr>
                      </m:accPr>
                      <m:e>
                        <m:r>
                          <a:rPr lang="en-US" sz="1400" i="1" smtClean="0">
                            <a:latin typeface="Cambria Math" panose="02040503050406030204" pitchFamily="18" charset="0"/>
                          </a:rPr>
                          <m:t>µ</m:t>
                        </m:r>
                      </m:e>
                    </m:acc>
                  </m:oMath>
                </a14:m>
                <a:r>
                  <a:rPr lang="en-US" sz="1400"/>
                  <a:t>(x)</a:t>
                </a:r>
                <a:endParaRPr lang="de-DE" sz="1400"/>
              </a:p>
            </p:txBody>
          </p:sp>
        </mc:Choice>
        <mc:Fallback xmlns="">
          <p:sp>
            <p:nvSpPr>
              <p:cNvPr id="38" name="TextBox 37">
                <a:extLst>
                  <a:ext uri="{FF2B5EF4-FFF2-40B4-BE49-F238E27FC236}">
                    <a16:creationId xmlns:a16="http://schemas.microsoft.com/office/drawing/2014/main" id="{D472C3FD-BC97-2C3F-5A61-39AE92B7FA22}"/>
                  </a:ext>
                </a:extLst>
              </p:cNvPr>
              <p:cNvSpPr txBox="1">
                <a:spLocks noRot="1" noChangeAspect="1" noMove="1" noResize="1" noEditPoints="1" noAdjustHandles="1" noChangeArrowheads="1" noChangeShapeType="1" noTextEdit="1"/>
              </p:cNvSpPr>
              <p:nvPr/>
            </p:nvSpPr>
            <p:spPr>
              <a:xfrm>
                <a:off x="10117693" y="2576329"/>
                <a:ext cx="853850" cy="218586"/>
              </a:xfrm>
              <a:prstGeom prst="rect">
                <a:avLst/>
              </a:prstGeom>
              <a:blipFill>
                <a:blip r:embed="rId3"/>
                <a:stretch>
                  <a:fillRect l="-7857" t="-25714" b="-54286"/>
                </a:stretch>
              </a:blipFill>
              <a:effectLst/>
            </p:spPr>
            <p:txBody>
              <a:bodyPr/>
              <a:lstStyle/>
              <a:p>
                <a:r>
                  <a:rPr lang="en-US">
                    <a:noFill/>
                  </a:rPr>
                  <a:t> </a:t>
                </a:r>
              </a:p>
            </p:txBody>
          </p:sp>
        </mc:Fallback>
      </mc:AlternateContent>
      <p:sp>
        <p:nvSpPr>
          <p:cNvPr id="40" name="Freeform: Shape 39">
            <a:extLst>
              <a:ext uri="{FF2B5EF4-FFF2-40B4-BE49-F238E27FC236}">
                <a16:creationId xmlns:a16="http://schemas.microsoft.com/office/drawing/2014/main" id="{95A3AB32-BF8B-8C13-1024-E22B2A8BB64A}"/>
              </a:ext>
            </a:extLst>
          </p:cNvPr>
          <p:cNvSpPr/>
          <p:nvPr/>
        </p:nvSpPr>
        <p:spPr>
          <a:xfrm>
            <a:off x="7367784" y="2730876"/>
            <a:ext cx="2641451" cy="1749618"/>
          </a:xfrm>
          <a:custGeom>
            <a:avLst/>
            <a:gdLst>
              <a:gd name="connsiteX0" fmla="*/ 0 w 3400147"/>
              <a:gd name="connsiteY0" fmla="*/ 2965141 h 2965141"/>
              <a:gd name="connsiteX1" fmla="*/ 523782 w 3400147"/>
              <a:gd name="connsiteY1" fmla="*/ 1447060 h 2965141"/>
              <a:gd name="connsiteX2" fmla="*/ 2388093 w 3400147"/>
              <a:gd name="connsiteY2" fmla="*/ 905522 h 2965141"/>
              <a:gd name="connsiteX3" fmla="*/ 3400147 w 3400147"/>
              <a:gd name="connsiteY3" fmla="*/ 0 h 2965141"/>
            </a:gdLst>
            <a:ahLst/>
            <a:cxnLst>
              <a:cxn ang="0">
                <a:pos x="connsiteX0" y="connsiteY0"/>
              </a:cxn>
              <a:cxn ang="0">
                <a:pos x="connsiteX1" y="connsiteY1"/>
              </a:cxn>
              <a:cxn ang="0">
                <a:pos x="connsiteX2" y="connsiteY2"/>
              </a:cxn>
              <a:cxn ang="0">
                <a:pos x="connsiteX3" y="connsiteY3"/>
              </a:cxn>
            </a:cxnLst>
            <a:rect l="l" t="t" r="r" b="b"/>
            <a:pathLst>
              <a:path w="3400147" h="2965141">
                <a:moveTo>
                  <a:pt x="0" y="2965141"/>
                </a:moveTo>
                <a:cubicBezTo>
                  <a:pt x="62883" y="2377735"/>
                  <a:pt x="125767" y="1790330"/>
                  <a:pt x="523782" y="1447060"/>
                </a:cubicBezTo>
                <a:cubicBezTo>
                  <a:pt x="921798" y="1103790"/>
                  <a:pt x="1908699" y="1146699"/>
                  <a:pt x="2388093" y="905522"/>
                </a:cubicBezTo>
                <a:cubicBezTo>
                  <a:pt x="2867487" y="664345"/>
                  <a:pt x="3133817" y="332172"/>
                  <a:pt x="3400147" y="0"/>
                </a:cubicBezTo>
              </a:path>
            </a:pathLst>
          </a:custGeom>
          <a:ln w="838200">
            <a:solidFill>
              <a:schemeClr val="accent1">
                <a:alpha val="20000"/>
              </a:schemeClr>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e-DE"/>
          </a:p>
        </p:txBody>
      </p:sp>
      <p:sp>
        <p:nvSpPr>
          <p:cNvPr id="43" name="Freeform: Shape 42">
            <a:extLst>
              <a:ext uri="{FF2B5EF4-FFF2-40B4-BE49-F238E27FC236}">
                <a16:creationId xmlns:a16="http://schemas.microsoft.com/office/drawing/2014/main" id="{FE22A116-EAD0-B5C0-3800-708EC511061C}"/>
              </a:ext>
            </a:extLst>
          </p:cNvPr>
          <p:cNvSpPr/>
          <p:nvPr/>
        </p:nvSpPr>
        <p:spPr>
          <a:xfrm>
            <a:off x="1713420" y="3741565"/>
            <a:ext cx="421241" cy="1397285"/>
          </a:xfrm>
          <a:custGeom>
            <a:avLst/>
            <a:gdLst>
              <a:gd name="connsiteX0" fmla="*/ 0 w 421241"/>
              <a:gd name="connsiteY0" fmla="*/ 1397285 h 1397285"/>
              <a:gd name="connsiteX1" fmla="*/ 421241 w 421241"/>
              <a:gd name="connsiteY1" fmla="*/ 0 h 1397285"/>
              <a:gd name="connsiteX2" fmla="*/ 421241 w 421241"/>
              <a:gd name="connsiteY2" fmla="*/ 0 h 1397285"/>
            </a:gdLst>
            <a:ahLst/>
            <a:cxnLst>
              <a:cxn ang="0">
                <a:pos x="connsiteX0" y="connsiteY0"/>
              </a:cxn>
              <a:cxn ang="0">
                <a:pos x="connsiteX1" y="connsiteY1"/>
              </a:cxn>
              <a:cxn ang="0">
                <a:pos x="connsiteX2" y="connsiteY2"/>
              </a:cxn>
            </a:cxnLst>
            <a:rect l="l" t="t" r="r" b="b"/>
            <a:pathLst>
              <a:path w="421241" h="1397285">
                <a:moveTo>
                  <a:pt x="0" y="1397285"/>
                </a:moveTo>
                <a:lnTo>
                  <a:pt x="421241" y="0"/>
                </a:lnTo>
                <a:lnTo>
                  <a:pt x="421241"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Freeform: Shape 44">
            <a:extLst>
              <a:ext uri="{FF2B5EF4-FFF2-40B4-BE49-F238E27FC236}">
                <a16:creationId xmlns:a16="http://schemas.microsoft.com/office/drawing/2014/main" id="{9C619AE8-69B6-D666-CAEE-F5CAF6195B9A}"/>
              </a:ext>
            </a:extLst>
          </p:cNvPr>
          <p:cNvSpPr/>
          <p:nvPr/>
        </p:nvSpPr>
        <p:spPr>
          <a:xfrm>
            <a:off x="1389935" y="4477331"/>
            <a:ext cx="71022" cy="905522"/>
          </a:xfrm>
          <a:custGeom>
            <a:avLst/>
            <a:gdLst>
              <a:gd name="connsiteX0" fmla="*/ 0 w 71022"/>
              <a:gd name="connsiteY0" fmla="*/ 905522 h 905522"/>
              <a:gd name="connsiteX1" fmla="*/ 71022 w 71022"/>
              <a:gd name="connsiteY1" fmla="*/ 0 h 905522"/>
              <a:gd name="connsiteX2" fmla="*/ 71022 w 71022"/>
              <a:gd name="connsiteY2" fmla="*/ 0 h 905522"/>
            </a:gdLst>
            <a:ahLst/>
            <a:cxnLst>
              <a:cxn ang="0">
                <a:pos x="connsiteX0" y="connsiteY0"/>
              </a:cxn>
              <a:cxn ang="0">
                <a:pos x="connsiteX1" y="connsiteY1"/>
              </a:cxn>
              <a:cxn ang="0">
                <a:pos x="connsiteX2" y="connsiteY2"/>
              </a:cxn>
            </a:cxnLst>
            <a:rect l="l" t="t" r="r" b="b"/>
            <a:pathLst>
              <a:path w="71022" h="905522">
                <a:moveTo>
                  <a:pt x="0" y="905522"/>
                </a:moveTo>
                <a:lnTo>
                  <a:pt x="71022" y="0"/>
                </a:lnTo>
                <a:lnTo>
                  <a:pt x="71022"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Freeform: Shape 45">
            <a:extLst>
              <a:ext uri="{FF2B5EF4-FFF2-40B4-BE49-F238E27FC236}">
                <a16:creationId xmlns:a16="http://schemas.microsoft.com/office/drawing/2014/main" id="{7FE77124-A353-72AA-F104-40334BCD08F1}"/>
              </a:ext>
            </a:extLst>
          </p:cNvPr>
          <p:cNvSpPr/>
          <p:nvPr/>
        </p:nvSpPr>
        <p:spPr>
          <a:xfrm>
            <a:off x="1416568" y="3971304"/>
            <a:ext cx="319597" cy="1411549"/>
          </a:xfrm>
          <a:custGeom>
            <a:avLst/>
            <a:gdLst>
              <a:gd name="connsiteX0" fmla="*/ 0 w 319597"/>
              <a:gd name="connsiteY0" fmla="*/ 1411549 h 1411549"/>
              <a:gd name="connsiteX1" fmla="*/ 319597 w 319597"/>
              <a:gd name="connsiteY1" fmla="*/ 0 h 1411549"/>
              <a:gd name="connsiteX2" fmla="*/ 319597 w 319597"/>
              <a:gd name="connsiteY2" fmla="*/ 0 h 1411549"/>
            </a:gdLst>
            <a:ahLst/>
            <a:cxnLst>
              <a:cxn ang="0">
                <a:pos x="connsiteX0" y="connsiteY0"/>
              </a:cxn>
              <a:cxn ang="0">
                <a:pos x="connsiteX1" y="connsiteY1"/>
              </a:cxn>
              <a:cxn ang="0">
                <a:pos x="connsiteX2" y="connsiteY2"/>
              </a:cxn>
            </a:cxnLst>
            <a:rect l="l" t="t" r="r" b="b"/>
            <a:pathLst>
              <a:path w="319597" h="1411549">
                <a:moveTo>
                  <a:pt x="0" y="1411549"/>
                </a:moveTo>
                <a:lnTo>
                  <a:pt x="319597" y="0"/>
                </a:lnTo>
                <a:lnTo>
                  <a:pt x="319597" y="0"/>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7" name="Straight Arrow Connector 46">
            <a:extLst>
              <a:ext uri="{FF2B5EF4-FFF2-40B4-BE49-F238E27FC236}">
                <a16:creationId xmlns:a16="http://schemas.microsoft.com/office/drawing/2014/main" id="{84BD0BAD-BA96-025B-5EFF-B52827CE2AA2}"/>
              </a:ext>
            </a:extLst>
          </p:cNvPr>
          <p:cNvCxnSpPr>
            <a:cxnSpLocks/>
          </p:cNvCxnSpPr>
          <p:nvPr/>
        </p:nvCxnSpPr>
        <p:spPr>
          <a:xfrm flipV="1">
            <a:off x="1000964" y="5115371"/>
            <a:ext cx="4161290" cy="446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41C7C50-863D-BAE9-4904-A7A3FD8B3BB0}"/>
              </a:ext>
            </a:extLst>
          </p:cNvPr>
          <p:cNvCxnSpPr>
            <a:cxnSpLocks/>
          </p:cNvCxnSpPr>
          <p:nvPr/>
        </p:nvCxnSpPr>
        <p:spPr>
          <a:xfrm flipV="1">
            <a:off x="1143343" y="1876425"/>
            <a:ext cx="0" cy="34028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02ECADBE-EE2F-A7B8-0969-3011CA19A14D}"/>
              </a:ext>
            </a:extLst>
          </p:cNvPr>
          <p:cNvSpPr txBox="1"/>
          <p:nvPr/>
        </p:nvSpPr>
        <p:spPr>
          <a:xfrm>
            <a:off x="840243" y="3514519"/>
            <a:ext cx="853850" cy="218586"/>
          </a:xfrm>
          <a:prstGeom prst="rect">
            <a:avLst/>
          </a:prstGeom>
          <a:noFill/>
          <a:effectLst/>
        </p:spPr>
        <p:txBody>
          <a:bodyPr wrap="square" lIns="0" tIns="0" rIns="0" bIns="0" rtlCol="0">
            <a:spAutoFit/>
          </a:bodyPr>
          <a:lstStyle/>
          <a:p>
            <a:pPr>
              <a:lnSpc>
                <a:spcPct val="110000"/>
              </a:lnSpc>
            </a:pPr>
            <a:r>
              <a:rPr lang="en-US" sz="1400"/>
              <a:t>y</a:t>
            </a:r>
            <a:endParaRPr lang="de-DE" sz="1400"/>
          </a:p>
        </p:txBody>
      </p:sp>
      <p:sp>
        <p:nvSpPr>
          <p:cNvPr id="51" name="TextBox 50">
            <a:extLst>
              <a:ext uri="{FF2B5EF4-FFF2-40B4-BE49-F238E27FC236}">
                <a16:creationId xmlns:a16="http://schemas.microsoft.com/office/drawing/2014/main" id="{FD87B7A5-C4D8-FD76-CC13-50653AA2A6A5}"/>
              </a:ext>
            </a:extLst>
          </p:cNvPr>
          <p:cNvSpPr txBox="1"/>
          <p:nvPr/>
        </p:nvSpPr>
        <p:spPr>
          <a:xfrm>
            <a:off x="2858779" y="5258494"/>
            <a:ext cx="853850" cy="160145"/>
          </a:xfrm>
          <a:prstGeom prst="rect">
            <a:avLst/>
          </a:prstGeom>
          <a:noFill/>
          <a:effectLst/>
        </p:spPr>
        <p:txBody>
          <a:bodyPr wrap="square" lIns="0" tIns="0" rIns="0" bIns="0" rtlCol="0">
            <a:spAutoFit/>
          </a:bodyPr>
          <a:lstStyle/>
          <a:p>
            <a:pPr>
              <a:lnSpc>
                <a:spcPct val="110000"/>
              </a:lnSpc>
            </a:pPr>
            <a:r>
              <a:rPr lang="en-US" sz="1400"/>
              <a:t>x</a:t>
            </a:r>
            <a:endParaRPr lang="de-DE" sz="1400"/>
          </a:p>
        </p:txBody>
      </p:sp>
      <p:sp>
        <p:nvSpPr>
          <p:cNvPr id="52" name="Freeform: Shape 51">
            <a:extLst>
              <a:ext uri="{FF2B5EF4-FFF2-40B4-BE49-F238E27FC236}">
                <a16:creationId xmlns:a16="http://schemas.microsoft.com/office/drawing/2014/main" id="{F19DB7C6-635D-9F24-CFB7-32991070C497}"/>
              </a:ext>
            </a:extLst>
          </p:cNvPr>
          <p:cNvSpPr/>
          <p:nvPr/>
        </p:nvSpPr>
        <p:spPr>
          <a:xfrm>
            <a:off x="1621061" y="2728489"/>
            <a:ext cx="2641451" cy="1749618"/>
          </a:xfrm>
          <a:custGeom>
            <a:avLst/>
            <a:gdLst>
              <a:gd name="connsiteX0" fmla="*/ 0 w 3400147"/>
              <a:gd name="connsiteY0" fmla="*/ 2965141 h 2965141"/>
              <a:gd name="connsiteX1" fmla="*/ 523782 w 3400147"/>
              <a:gd name="connsiteY1" fmla="*/ 1447060 h 2965141"/>
              <a:gd name="connsiteX2" fmla="*/ 2388093 w 3400147"/>
              <a:gd name="connsiteY2" fmla="*/ 905522 h 2965141"/>
              <a:gd name="connsiteX3" fmla="*/ 3400147 w 3400147"/>
              <a:gd name="connsiteY3" fmla="*/ 0 h 2965141"/>
            </a:gdLst>
            <a:ahLst/>
            <a:cxnLst>
              <a:cxn ang="0">
                <a:pos x="connsiteX0" y="connsiteY0"/>
              </a:cxn>
              <a:cxn ang="0">
                <a:pos x="connsiteX1" y="connsiteY1"/>
              </a:cxn>
              <a:cxn ang="0">
                <a:pos x="connsiteX2" y="connsiteY2"/>
              </a:cxn>
              <a:cxn ang="0">
                <a:pos x="connsiteX3" y="connsiteY3"/>
              </a:cxn>
            </a:cxnLst>
            <a:rect l="l" t="t" r="r" b="b"/>
            <a:pathLst>
              <a:path w="3400147" h="2965141">
                <a:moveTo>
                  <a:pt x="0" y="2965141"/>
                </a:moveTo>
                <a:cubicBezTo>
                  <a:pt x="62883" y="2377735"/>
                  <a:pt x="125767" y="1790330"/>
                  <a:pt x="523782" y="1447060"/>
                </a:cubicBezTo>
                <a:cubicBezTo>
                  <a:pt x="921798" y="1103790"/>
                  <a:pt x="1908699" y="1146699"/>
                  <a:pt x="2388093" y="905522"/>
                </a:cubicBezTo>
                <a:cubicBezTo>
                  <a:pt x="2867487" y="664345"/>
                  <a:pt x="3133817" y="332172"/>
                  <a:pt x="3400147" y="0"/>
                </a:cubicBezTo>
              </a:path>
            </a:pathLst>
          </a:custGeom>
          <a:ln>
            <a:solidFill>
              <a:schemeClr val="accent1"/>
            </a:solidFill>
          </a:ln>
        </p:spPr>
        <p:style>
          <a:lnRef idx="3">
            <a:schemeClr val="accent5"/>
          </a:lnRef>
          <a:fillRef idx="0">
            <a:schemeClr val="accent5"/>
          </a:fillRef>
          <a:effectRef idx="2">
            <a:schemeClr val="accent5"/>
          </a:effectRef>
          <a:fontRef idx="minor">
            <a:schemeClr val="tx1"/>
          </a:fontRef>
        </p:style>
        <p:txBody>
          <a:bodyPr rtlCol="0" anchor="ctr"/>
          <a:lstStyle/>
          <a:p>
            <a:pPr algn="ctr"/>
            <a:endParaRPr lang="de-DE"/>
          </a:p>
        </p:txBody>
      </p:sp>
      <p:sp>
        <p:nvSpPr>
          <p:cNvPr id="53" name="Oval 52">
            <a:extLst>
              <a:ext uri="{FF2B5EF4-FFF2-40B4-BE49-F238E27FC236}">
                <a16:creationId xmlns:a16="http://schemas.microsoft.com/office/drawing/2014/main" id="{CE4D499D-B8D3-4412-E333-42BAC4584C6A}"/>
              </a:ext>
            </a:extLst>
          </p:cNvPr>
          <p:cNvSpPr/>
          <p:nvPr/>
        </p:nvSpPr>
        <p:spPr>
          <a:xfrm>
            <a:off x="1924040" y="3048780"/>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54" name="Oval 53">
            <a:extLst>
              <a:ext uri="{FF2B5EF4-FFF2-40B4-BE49-F238E27FC236}">
                <a16:creationId xmlns:a16="http://schemas.microsoft.com/office/drawing/2014/main" id="{E00F1FAD-4491-EEC2-E97C-3C23A9181489}"/>
              </a:ext>
            </a:extLst>
          </p:cNvPr>
          <p:cNvSpPr/>
          <p:nvPr/>
        </p:nvSpPr>
        <p:spPr>
          <a:xfrm>
            <a:off x="1713420" y="359465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55" name="Oval 54">
            <a:extLst>
              <a:ext uri="{FF2B5EF4-FFF2-40B4-BE49-F238E27FC236}">
                <a16:creationId xmlns:a16="http://schemas.microsoft.com/office/drawing/2014/main" id="{9CB4AF0A-8396-F5F6-7306-A397CFE34793}"/>
              </a:ext>
            </a:extLst>
          </p:cNvPr>
          <p:cNvSpPr/>
          <p:nvPr/>
        </p:nvSpPr>
        <p:spPr>
          <a:xfrm>
            <a:off x="1745253" y="427256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56" name="Oval 55">
            <a:extLst>
              <a:ext uri="{FF2B5EF4-FFF2-40B4-BE49-F238E27FC236}">
                <a16:creationId xmlns:a16="http://schemas.microsoft.com/office/drawing/2014/main" id="{B4AF613A-259F-776E-48AC-49B8BFDF7F24}"/>
              </a:ext>
            </a:extLst>
          </p:cNvPr>
          <p:cNvSpPr/>
          <p:nvPr/>
        </p:nvSpPr>
        <p:spPr>
          <a:xfrm>
            <a:off x="2923882" y="3669021"/>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62" name="Oval 61">
            <a:extLst>
              <a:ext uri="{FF2B5EF4-FFF2-40B4-BE49-F238E27FC236}">
                <a16:creationId xmlns:a16="http://schemas.microsoft.com/office/drawing/2014/main" id="{BB05290C-2993-7FAD-163B-C4719A85C57A}"/>
              </a:ext>
            </a:extLst>
          </p:cNvPr>
          <p:cNvSpPr/>
          <p:nvPr/>
        </p:nvSpPr>
        <p:spPr>
          <a:xfrm>
            <a:off x="2941786" y="3225459"/>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66" name="Oval 65">
            <a:extLst>
              <a:ext uri="{FF2B5EF4-FFF2-40B4-BE49-F238E27FC236}">
                <a16:creationId xmlns:a16="http://schemas.microsoft.com/office/drawing/2014/main" id="{F0A199E1-724D-1276-A550-D38C6EDD2213}"/>
              </a:ext>
            </a:extLst>
          </p:cNvPr>
          <p:cNvSpPr/>
          <p:nvPr/>
        </p:nvSpPr>
        <p:spPr>
          <a:xfrm>
            <a:off x="3311510" y="3406316"/>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67" name="Oval 66">
            <a:extLst>
              <a:ext uri="{FF2B5EF4-FFF2-40B4-BE49-F238E27FC236}">
                <a16:creationId xmlns:a16="http://schemas.microsoft.com/office/drawing/2014/main" id="{D6D74BE4-2672-E986-49FA-85C03D3D99D5}"/>
              </a:ext>
            </a:extLst>
          </p:cNvPr>
          <p:cNvSpPr/>
          <p:nvPr/>
        </p:nvSpPr>
        <p:spPr>
          <a:xfrm>
            <a:off x="3464231" y="292769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68" name="Oval 67">
            <a:extLst>
              <a:ext uri="{FF2B5EF4-FFF2-40B4-BE49-F238E27FC236}">
                <a16:creationId xmlns:a16="http://schemas.microsoft.com/office/drawing/2014/main" id="{388851E6-6A6D-074C-5974-5F1E3B94E8E9}"/>
              </a:ext>
            </a:extLst>
          </p:cNvPr>
          <p:cNvSpPr/>
          <p:nvPr/>
        </p:nvSpPr>
        <p:spPr>
          <a:xfrm>
            <a:off x="3849168" y="327718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0" name="Oval 69">
            <a:extLst>
              <a:ext uri="{FF2B5EF4-FFF2-40B4-BE49-F238E27FC236}">
                <a16:creationId xmlns:a16="http://schemas.microsoft.com/office/drawing/2014/main" id="{39F382BF-64C4-D131-BA72-E72FF9F5FD82}"/>
              </a:ext>
            </a:extLst>
          </p:cNvPr>
          <p:cNvSpPr/>
          <p:nvPr/>
        </p:nvSpPr>
        <p:spPr>
          <a:xfrm>
            <a:off x="2260517" y="3675152"/>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1" name="Oval 70">
            <a:extLst>
              <a:ext uri="{FF2B5EF4-FFF2-40B4-BE49-F238E27FC236}">
                <a16:creationId xmlns:a16="http://schemas.microsoft.com/office/drawing/2014/main" id="{EA303C4A-FE74-0591-8C57-F24D7B1AA899}"/>
              </a:ext>
            </a:extLst>
          </p:cNvPr>
          <p:cNvSpPr/>
          <p:nvPr/>
        </p:nvSpPr>
        <p:spPr>
          <a:xfrm>
            <a:off x="2276257" y="3319199"/>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2" name="Oval 71">
            <a:extLst>
              <a:ext uri="{FF2B5EF4-FFF2-40B4-BE49-F238E27FC236}">
                <a16:creationId xmlns:a16="http://schemas.microsoft.com/office/drawing/2014/main" id="{5FFDFD8D-99E6-C68A-2E01-75D514D95585}"/>
              </a:ext>
            </a:extLst>
          </p:cNvPr>
          <p:cNvSpPr/>
          <p:nvPr/>
        </p:nvSpPr>
        <p:spPr>
          <a:xfrm>
            <a:off x="3065432" y="2784852"/>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3" name="Oval 72">
            <a:extLst>
              <a:ext uri="{FF2B5EF4-FFF2-40B4-BE49-F238E27FC236}">
                <a16:creationId xmlns:a16="http://schemas.microsoft.com/office/drawing/2014/main" id="{0802E537-449E-6707-C8DC-477201503320}"/>
              </a:ext>
            </a:extLst>
          </p:cNvPr>
          <p:cNvSpPr/>
          <p:nvPr/>
        </p:nvSpPr>
        <p:spPr>
          <a:xfrm>
            <a:off x="4017848" y="2838746"/>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4" name="Oval 73">
            <a:extLst>
              <a:ext uri="{FF2B5EF4-FFF2-40B4-BE49-F238E27FC236}">
                <a16:creationId xmlns:a16="http://schemas.microsoft.com/office/drawing/2014/main" id="{3398ADEC-3334-BC27-B529-C0C045F479EC}"/>
              </a:ext>
            </a:extLst>
          </p:cNvPr>
          <p:cNvSpPr/>
          <p:nvPr/>
        </p:nvSpPr>
        <p:spPr>
          <a:xfrm>
            <a:off x="3998748" y="337427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5" name="Oval 74">
            <a:extLst>
              <a:ext uri="{FF2B5EF4-FFF2-40B4-BE49-F238E27FC236}">
                <a16:creationId xmlns:a16="http://schemas.microsoft.com/office/drawing/2014/main" id="{AE2E0DD6-CD23-8A90-F73C-8473A6F981F9}"/>
              </a:ext>
            </a:extLst>
          </p:cNvPr>
          <p:cNvSpPr/>
          <p:nvPr/>
        </p:nvSpPr>
        <p:spPr>
          <a:xfrm>
            <a:off x="2292559" y="4390544"/>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6" name="Oval 75">
            <a:extLst>
              <a:ext uri="{FF2B5EF4-FFF2-40B4-BE49-F238E27FC236}">
                <a16:creationId xmlns:a16="http://schemas.microsoft.com/office/drawing/2014/main" id="{DCCE4351-6CFB-1A41-DFD4-9CBAD6B713D1}"/>
              </a:ext>
            </a:extLst>
          </p:cNvPr>
          <p:cNvSpPr/>
          <p:nvPr/>
        </p:nvSpPr>
        <p:spPr>
          <a:xfrm>
            <a:off x="1552856" y="4080541"/>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77" name="Oval 76">
            <a:extLst>
              <a:ext uri="{FF2B5EF4-FFF2-40B4-BE49-F238E27FC236}">
                <a16:creationId xmlns:a16="http://schemas.microsoft.com/office/drawing/2014/main" id="{6ABD2995-25B5-9484-48F6-20D73B686609}"/>
              </a:ext>
            </a:extLst>
          </p:cNvPr>
          <p:cNvSpPr/>
          <p:nvPr/>
        </p:nvSpPr>
        <p:spPr>
          <a:xfrm>
            <a:off x="3285223" y="2364466"/>
            <a:ext cx="64084" cy="64084"/>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mc:AlternateContent xmlns:mc="http://schemas.openxmlformats.org/markup-compatibility/2006" xmlns:a14="http://schemas.microsoft.com/office/drawing/2010/main">
        <mc:Choice Requires="a14">
          <p:sp>
            <p:nvSpPr>
              <p:cNvPr id="79" name="TextBox 78">
                <a:extLst>
                  <a:ext uri="{FF2B5EF4-FFF2-40B4-BE49-F238E27FC236}">
                    <a16:creationId xmlns:a16="http://schemas.microsoft.com/office/drawing/2014/main" id="{4CFD7CA4-C8FF-FB72-45A8-21C403B18607}"/>
                  </a:ext>
                </a:extLst>
              </p:cNvPr>
              <p:cNvSpPr txBox="1"/>
              <p:nvPr/>
            </p:nvSpPr>
            <p:spPr>
              <a:xfrm>
                <a:off x="4383347" y="2576329"/>
                <a:ext cx="853850" cy="218586"/>
              </a:xfrm>
              <a:prstGeom prst="rect">
                <a:avLst/>
              </a:prstGeom>
              <a:noFill/>
              <a:effectLst/>
            </p:spPr>
            <p:txBody>
              <a:bodyPr wrap="square" lIns="0" tIns="0" rIns="0" bIns="0" rtlCol="0">
                <a:spAutoFit/>
              </a:bodyPr>
              <a:lstStyle/>
              <a:p>
                <a:pPr>
                  <a:lnSpc>
                    <a:spcPct val="110000"/>
                  </a:lnSpc>
                </a:pPr>
                <a14:m>
                  <m:oMath xmlns:m="http://schemas.openxmlformats.org/officeDocument/2006/math">
                    <m:acc>
                      <m:accPr>
                        <m:chr m:val="̂"/>
                        <m:ctrlPr>
                          <a:rPr lang="en-US" sz="1400" i="1" smtClean="0">
                            <a:latin typeface="Cambria Math" panose="02040503050406030204" pitchFamily="18" charset="0"/>
                          </a:rPr>
                        </m:ctrlPr>
                      </m:accPr>
                      <m:e>
                        <m:r>
                          <a:rPr lang="en-US" sz="1400" i="1" smtClean="0">
                            <a:latin typeface="Cambria Math" panose="02040503050406030204" pitchFamily="18" charset="0"/>
                          </a:rPr>
                          <m:t>µ</m:t>
                        </m:r>
                      </m:e>
                    </m:acc>
                  </m:oMath>
                </a14:m>
                <a:r>
                  <a:rPr lang="en-US" sz="1400"/>
                  <a:t>(x)</a:t>
                </a:r>
                <a:endParaRPr lang="de-DE" sz="1400"/>
              </a:p>
            </p:txBody>
          </p:sp>
        </mc:Choice>
        <mc:Fallback xmlns="">
          <p:sp>
            <p:nvSpPr>
              <p:cNvPr id="79" name="TextBox 78">
                <a:extLst>
                  <a:ext uri="{FF2B5EF4-FFF2-40B4-BE49-F238E27FC236}">
                    <a16:creationId xmlns:a16="http://schemas.microsoft.com/office/drawing/2014/main" id="{4CFD7CA4-C8FF-FB72-45A8-21C403B18607}"/>
                  </a:ext>
                </a:extLst>
              </p:cNvPr>
              <p:cNvSpPr txBox="1">
                <a:spLocks noRot="1" noChangeAspect="1" noMove="1" noResize="1" noEditPoints="1" noAdjustHandles="1" noChangeArrowheads="1" noChangeShapeType="1" noTextEdit="1"/>
              </p:cNvSpPr>
              <p:nvPr/>
            </p:nvSpPr>
            <p:spPr>
              <a:xfrm>
                <a:off x="4383347" y="2576329"/>
                <a:ext cx="853850" cy="218586"/>
              </a:xfrm>
              <a:prstGeom prst="rect">
                <a:avLst/>
              </a:prstGeom>
              <a:blipFill>
                <a:blip r:embed="rId4"/>
                <a:stretch>
                  <a:fillRect l="-7143" t="-25714" b="-54286"/>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1" name="TextBox 80">
                <a:extLst>
                  <a:ext uri="{FF2B5EF4-FFF2-40B4-BE49-F238E27FC236}">
                    <a16:creationId xmlns:a16="http://schemas.microsoft.com/office/drawing/2014/main" id="{5FB288D1-256A-70EF-BD33-6CF811A625D9}"/>
                  </a:ext>
                </a:extLst>
              </p:cNvPr>
              <p:cNvSpPr txBox="1"/>
              <p:nvPr/>
            </p:nvSpPr>
            <p:spPr>
              <a:xfrm>
                <a:off x="10406072" y="2933641"/>
                <a:ext cx="853850" cy="218586"/>
              </a:xfrm>
              <a:prstGeom prst="rect">
                <a:avLst/>
              </a:prstGeom>
              <a:noFill/>
              <a:effectLst/>
            </p:spPr>
            <p:txBody>
              <a:bodyPr wrap="square" lIns="0" tIns="0" rIns="0" bIns="0" rtlCol="0">
                <a:spAutoFit/>
              </a:bodyPr>
              <a:lstStyle/>
              <a:p>
                <a:pPr>
                  <a:lnSpc>
                    <a:spcPct val="110000"/>
                  </a:lnSpc>
                </a:pPr>
                <a14:m>
                  <m:oMath xmlns:m="http://schemas.openxmlformats.org/officeDocument/2006/math">
                    <m:acc>
                      <m:accPr>
                        <m:chr m:val="̂"/>
                        <m:ctrlPr>
                          <a:rPr lang="en-US" sz="1400" i="1" smtClean="0">
                            <a:latin typeface="Cambria Math" panose="02040503050406030204" pitchFamily="18" charset="0"/>
                          </a:rPr>
                        </m:ctrlPr>
                      </m:accPr>
                      <m:e>
                        <m:r>
                          <a:rPr lang="en-US" sz="1400" i="1" smtClean="0">
                            <a:latin typeface="Cambria Math" panose="02040503050406030204" pitchFamily="18" charset="0"/>
                          </a:rPr>
                          <m:t>µ</m:t>
                        </m:r>
                      </m:e>
                    </m:acc>
                  </m:oMath>
                </a14:m>
                <a:r>
                  <a:rPr lang="en-US" sz="1400" dirty="0"/>
                  <a:t>(x) - </a:t>
                </a:r>
                <a:r>
                  <a:rPr lang="el-GR" sz="1400" dirty="0"/>
                  <a:t>ε</a:t>
                </a:r>
                <a:endParaRPr lang="de-DE" sz="1400" dirty="0"/>
              </a:p>
            </p:txBody>
          </p:sp>
        </mc:Choice>
        <mc:Fallback xmlns="">
          <p:sp>
            <p:nvSpPr>
              <p:cNvPr id="81" name="TextBox 80">
                <a:extLst>
                  <a:ext uri="{FF2B5EF4-FFF2-40B4-BE49-F238E27FC236}">
                    <a16:creationId xmlns:a16="http://schemas.microsoft.com/office/drawing/2014/main" id="{5FB288D1-256A-70EF-BD33-6CF811A625D9}"/>
                  </a:ext>
                </a:extLst>
              </p:cNvPr>
              <p:cNvSpPr txBox="1">
                <a:spLocks noRot="1" noChangeAspect="1" noMove="1" noResize="1" noEditPoints="1" noAdjustHandles="1" noChangeArrowheads="1" noChangeShapeType="1" noTextEdit="1"/>
              </p:cNvSpPr>
              <p:nvPr/>
            </p:nvSpPr>
            <p:spPr>
              <a:xfrm>
                <a:off x="10406072" y="2933641"/>
                <a:ext cx="853850" cy="218586"/>
              </a:xfrm>
              <a:prstGeom prst="rect">
                <a:avLst/>
              </a:prstGeom>
              <a:blipFill>
                <a:blip r:embed="rId5"/>
                <a:stretch>
                  <a:fillRect l="-7143" t="-22222" b="-50000"/>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2" name="TextBox 81">
                <a:extLst>
                  <a:ext uri="{FF2B5EF4-FFF2-40B4-BE49-F238E27FC236}">
                    <a16:creationId xmlns:a16="http://schemas.microsoft.com/office/drawing/2014/main" id="{22CB15CD-52AC-1FAF-5EE6-F617D140208C}"/>
                  </a:ext>
                </a:extLst>
              </p:cNvPr>
              <p:cNvSpPr txBox="1"/>
              <p:nvPr/>
            </p:nvSpPr>
            <p:spPr>
              <a:xfrm>
                <a:off x="9690768" y="2143022"/>
                <a:ext cx="853850" cy="218586"/>
              </a:xfrm>
              <a:prstGeom prst="rect">
                <a:avLst/>
              </a:prstGeom>
              <a:noFill/>
              <a:effectLst/>
            </p:spPr>
            <p:txBody>
              <a:bodyPr wrap="square" lIns="0" tIns="0" rIns="0" bIns="0" rtlCol="0">
                <a:spAutoFit/>
              </a:bodyPr>
              <a:lstStyle/>
              <a:p>
                <a:pPr>
                  <a:lnSpc>
                    <a:spcPct val="110000"/>
                  </a:lnSpc>
                </a:pPr>
                <a14:m>
                  <m:oMath xmlns:m="http://schemas.openxmlformats.org/officeDocument/2006/math">
                    <m:acc>
                      <m:accPr>
                        <m:chr m:val="̂"/>
                        <m:ctrlPr>
                          <a:rPr lang="en-US" sz="1400" i="1" smtClean="0">
                            <a:latin typeface="Cambria Math" panose="02040503050406030204" pitchFamily="18" charset="0"/>
                          </a:rPr>
                        </m:ctrlPr>
                      </m:accPr>
                      <m:e>
                        <m:r>
                          <a:rPr lang="en-US" sz="1400" i="1" smtClean="0">
                            <a:latin typeface="Cambria Math" panose="02040503050406030204" pitchFamily="18" charset="0"/>
                          </a:rPr>
                          <m:t>µ</m:t>
                        </m:r>
                      </m:e>
                    </m:acc>
                  </m:oMath>
                </a14:m>
                <a:r>
                  <a:rPr lang="en-US" sz="1400"/>
                  <a:t>(x) + </a:t>
                </a:r>
                <a:r>
                  <a:rPr lang="el-GR" sz="1400"/>
                  <a:t>ε</a:t>
                </a:r>
                <a:endParaRPr lang="de-DE" sz="1400"/>
              </a:p>
            </p:txBody>
          </p:sp>
        </mc:Choice>
        <mc:Fallback xmlns="">
          <p:sp>
            <p:nvSpPr>
              <p:cNvPr id="82" name="TextBox 81">
                <a:extLst>
                  <a:ext uri="{FF2B5EF4-FFF2-40B4-BE49-F238E27FC236}">
                    <a16:creationId xmlns:a16="http://schemas.microsoft.com/office/drawing/2014/main" id="{22CB15CD-52AC-1FAF-5EE6-F617D140208C}"/>
                  </a:ext>
                </a:extLst>
              </p:cNvPr>
              <p:cNvSpPr txBox="1">
                <a:spLocks noRot="1" noChangeAspect="1" noMove="1" noResize="1" noEditPoints="1" noAdjustHandles="1" noChangeArrowheads="1" noChangeShapeType="1" noTextEdit="1"/>
              </p:cNvSpPr>
              <p:nvPr/>
            </p:nvSpPr>
            <p:spPr>
              <a:xfrm>
                <a:off x="9690768" y="2143022"/>
                <a:ext cx="853850" cy="218586"/>
              </a:xfrm>
              <a:prstGeom prst="rect">
                <a:avLst/>
              </a:prstGeom>
              <a:blipFill>
                <a:blip r:embed="rId6"/>
                <a:stretch>
                  <a:fillRect l="-7857" t="-25714" b="-54286"/>
                </a:stretch>
              </a:blipFill>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AAAA7E7F-BD55-F93D-6578-16BBA12A9D1F}"/>
                  </a:ext>
                </a:extLst>
              </p:cNvPr>
              <p:cNvSpPr txBox="1"/>
              <p:nvPr/>
            </p:nvSpPr>
            <p:spPr>
              <a:xfrm>
                <a:off x="2701039" y="5745541"/>
                <a:ext cx="7416654" cy="369332"/>
              </a:xfrm>
              <a:prstGeom prst="rect">
                <a:avLst/>
              </a:prstGeom>
              <a:noFill/>
              <a:effectLst/>
            </p:spPr>
            <p:txBody>
              <a:bodyPr wrap="square">
                <a:spAutoFit/>
              </a:bodyPr>
              <a:lstStyle/>
              <a:p>
                <a:r>
                  <a:rPr lang="en-GB" dirty="0">
                    <a:solidFill>
                      <a:schemeClr val="tx2"/>
                    </a:solidFill>
                    <a:ea typeface="Cambria Math" panose="02040503050406030204" pitchFamily="18" charset="0"/>
                  </a:rPr>
                  <a:t>Under-performance = </a:t>
                </a:r>
                <a14:m>
                  <m:oMath xmlns:m="http://schemas.openxmlformats.org/officeDocument/2006/math">
                    <m:sSub>
                      <m:sSubPr>
                        <m:ctrlPr>
                          <a:rPr lang="en-GB" i="1" smtClean="0">
                            <a:solidFill>
                              <a:schemeClr val="tx2"/>
                            </a:solidFill>
                            <a:latin typeface="Cambria Math" panose="02040503050406030204" pitchFamily="18" charset="0"/>
                            <a:ea typeface="Cambria Math" panose="02040503050406030204" pitchFamily="18" charset="0"/>
                          </a:rPr>
                        </m:ctrlPr>
                      </m:sSubPr>
                      <m:e>
                        <m:r>
                          <a:rPr lang="en-GB" i="1">
                            <a:solidFill>
                              <a:schemeClr val="tx2"/>
                            </a:solidFill>
                            <a:latin typeface="Cambria Math" panose="02040503050406030204" pitchFamily="18" charset="0"/>
                            <a:ea typeface="Cambria Math" panose="02040503050406030204" pitchFamily="18" charset="0"/>
                          </a:rPr>
                          <m:t>𝑌</m:t>
                        </m:r>
                      </m:e>
                      <m:sub>
                        <m:r>
                          <a:rPr lang="en-GB" i="1">
                            <a:solidFill>
                              <a:schemeClr val="tx2"/>
                            </a:solidFill>
                            <a:latin typeface="Cambria Math" panose="02040503050406030204" pitchFamily="18" charset="0"/>
                            <a:ea typeface="Cambria Math" panose="02040503050406030204" pitchFamily="18" charset="0"/>
                          </a:rPr>
                          <m:t>𝑡𝑒𝑠𝑡</m:t>
                        </m:r>
                      </m:sub>
                    </m:sSub>
                  </m:oMath>
                </a14:m>
                <a:r>
                  <a:rPr lang="en-GB" dirty="0">
                    <a:solidFill>
                      <a:schemeClr val="tx2"/>
                    </a:solidFill>
                  </a:rPr>
                  <a:t> is outside </a:t>
                </a:r>
                <a14:m>
                  <m:oMath xmlns:m="http://schemas.openxmlformats.org/officeDocument/2006/math">
                    <m:d>
                      <m:dPr>
                        <m:begChr m:val="["/>
                        <m:endChr m:val="]"/>
                        <m:ctrlPr>
                          <a:rPr lang="en-GB" i="1">
                            <a:solidFill>
                              <a:schemeClr val="tx2"/>
                            </a:solidFill>
                            <a:latin typeface="Cambria Math" panose="02040503050406030204" pitchFamily="18" charset="0"/>
                            <a:ea typeface="Cambria Math" panose="02040503050406030204" pitchFamily="18" charset="0"/>
                          </a:rPr>
                        </m:ctrlPr>
                      </m:dPr>
                      <m:e>
                        <m:r>
                          <a:rPr lang="en-US" b="0" i="1" smtClean="0">
                            <a:solidFill>
                              <a:schemeClr val="tx2"/>
                            </a:solidFill>
                            <a:latin typeface="Cambria Math" panose="02040503050406030204" pitchFamily="18" charset="0"/>
                            <a:ea typeface="Cambria Math" panose="02040503050406030204" pitchFamily="18" charset="0"/>
                          </a:rPr>
                          <m:t>𝜇</m:t>
                        </m:r>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a:rPr lang="en-GB" i="1">
                            <a:solidFill>
                              <a:schemeClr val="tx2"/>
                            </a:solidFill>
                            <a:latin typeface="Cambria Math" panose="02040503050406030204" pitchFamily="18" charset="0"/>
                            <a:ea typeface="Cambria Math" panose="02040503050406030204" pitchFamily="18" charset="0"/>
                          </a:rPr>
                          <m:t>−</m:t>
                        </m:r>
                        <m:r>
                          <m:rPr>
                            <m:nor/>
                          </m:rPr>
                          <a:rPr lang="el-GR" dirty="0">
                            <a:solidFill>
                              <a:schemeClr val="tx2"/>
                            </a:solidFill>
                          </a:rPr>
                          <m:t>ε</m:t>
                        </m:r>
                        <m:r>
                          <a:rPr lang="en-GB" i="1" dirty="0">
                            <a:solidFill>
                              <a:schemeClr val="tx2"/>
                            </a:solidFill>
                            <a:latin typeface="Cambria Math" panose="02040503050406030204" pitchFamily="18" charset="0"/>
                          </a:rPr>
                          <m:t>,</m:t>
                        </m:r>
                        <m:r>
                          <a:rPr lang="en-US" b="0" i="1" smtClean="0">
                            <a:solidFill>
                              <a:schemeClr val="tx2"/>
                            </a:solidFill>
                            <a:latin typeface="Cambria Math" panose="02040503050406030204" pitchFamily="18" charset="0"/>
                          </a:rPr>
                          <m:t>𝜇</m:t>
                        </m:r>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m:rPr>
                            <m:nor/>
                          </m:rPr>
                          <a:rPr lang="en-GB">
                            <a:solidFill>
                              <a:schemeClr val="tx2"/>
                            </a:solidFill>
                            <a:latin typeface="Cambria Math" panose="02040503050406030204" pitchFamily="18" charset="0"/>
                            <a:ea typeface="Cambria Math" panose="02040503050406030204" pitchFamily="18" charset="0"/>
                          </a:rPr>
                          <m:t>+ </m:t>
                        </m:r>
                        <m:r>
                          <m:rPr>
                            <m:nor/>
                          </m:rPr>
                          <a:rPr lang="el-GR" dirty="0">
                            <a:solidFill>
                              <a:schemeClr val="tx2"/>
                            </a:solidFill>
                          </a:rPr>
                          <m:t>ε</m:t>
                        </m:r>
                      </m:e>
                    </m:d>
                  </m:oMath>
                </a14:m>
                <a:endParaRPr lang="en-GB" dirty="0"/>
              </a:p>
            </p:txBody>
          </p:sp>
        </mc:Choice>
        <mc:Fallback xmlns="">
          <p:sp>
            <p:nvSpPr>
              <p:cNvPr id="6" name="TextBox 5">
                <a:extLst>
                  <a:ext uri="{FF2B5EF4-FFF2-40B4-BE49-F238E27FC236}">
                    <a16:creationId xmlns:a16="http://schemas.microsoft.com/office/drawing/2014/main" id="{AAAA7E7F-BD55-F93D-6578-16BBA12A9D1F}"/>
                  </a:ext>
                </a:extLst>
              </p:cNvPr>
              <p:cNvSpPr txBox="1">
                <a:spLocks noRot="1" noChangeAspect="1" noMove="1" noResize="1" noEditPoints="1" noAdjustHandles="1" noChangeArrowheads="1" noChangeShapeType="1" noTextEdit="1"/>
              </p:cNvSpPr>
              <p:nvPr/>
            </p:nvSpPr>
            <p:spPr>
              <a:xfrm>
                <a:off x="2701039" y="5745541"/>
                <a:ext cx="7416654" cy="369332"/>
              </a:xfrm>
              <a:prstGeom prst="rect">
                <a:avLst/>
              </a:prstGeom>
              <a:blipFill>
                <a:blip r:embed="rId7"/>
                <a:stretch>
                  <a:fillRect l="-657" t="-10000" b="-26667"/>
                </a:stretch>
              </a:blipFill>
              <a:effectLst/>
            </p:spPr>
            <p:txBody>
              <a:bodyPr/>
              <a:lstStyle/>
              <a:p>
                <a:r>
                  <a:rPr lang="en-US">
                    <a:noFill/>
                  </a:rPr>
                  <a:t> </a:t>
                </a:r>
              </a:p>
            </p:txBody>
          </p:sp>
        </mc:Fallback>
      </mc:AlternateContent>
      <p:sp>
        <p:nvSpPr>
          <p:cNvPr id="9" name="Title 19">
            <a:extLst>
              <a:ext uri="{FF2B5EF4-FFF2-40B4-BE49-F238E27FC236}">
                <a16:creationId xmlns:a16="http://schemas.microsoft.com/office/drawing/2014/main" id="{E5007B4F-685A-7AA8-365F-F8636B3727A8}"/>
              </a:ext>
            </a:extLst>
          </p:cNvPr>
          <p:cNvSpPr txBox="1">
            <a:spLocks/>
          </p:cNvSpPr>
          <p:nvPr/>
        </p:nvSpPr>
        <p:spPr>
          <a:xfrm>
            <a:off x="336000" y="336000"/>
            <a:ext cx="9840000" cy="76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accent1"/>
                </a:solidFill>
                <a:latin typeface="+mj-lt"/>
                <a:ea typeface="+mj-ea"/>
                <a:cs typeface="+mj-cs"/>
              </a:defRPr>
            </a:lvl1pPr>
          </a:lstStyle>
          <a:p>
            <a:r>
              <a:rPr lang="en-GB" sz="2667" dirty="0">
                <a:solidFill>
                  <a:schemeClr val="tx1"/>
                </a:solidFill>
              </a:rPr>
              <a:t>Regression case: Defining under-performance </a:t>
            </a:r>
            <a:endParaRPr lang="en-GB" sz="3733" dirty="0">
              <a:solidFill>
                <a:schemeClr val="tx2"/>
              </a:solidFill>
            </a:endParaRPr>
          </a:p>
          <a:p>
            <a:r>
              <a:rPr lang="en-US" sz="2133" dirty="0">
                <a:solidFill>
                  <a:schemeClr val="tx2">
                    <a:alpha val="50000"/>
                  </a:schemeClr>
                </a:solidFill>
              </a:rPr>
              <a:t>Defining risk by critical safety threshold</a:t>
            </a:r>
            <a:br>
              <a:rPr lang="en-GB" sz="2667" dirty="0">
                <a:solidFill>
                  <a:schemeClr val="tx2">
                    <a:alpha val="50000"/>
                  </a:schemeClr>
                </a:solidFill>
              </a:rPr>
            </a:br>
            <a:br>
              <a:rPr lang="en-GB" sz="1467" dirty="0">
                <a:solidFill>
                  <a:schemeClr val="tx2">
                    <a:alpha val="50000"/>
                  </a:schemeClr>
                </a:solidFill>
              </a:rPr>
            </a:br>
            <a:endParaRPr lang="en-GB" sz="3733" dirty="0">
              <a:solidFill>
                <a:schemeClr val="tx2">
                  <a:alpha val="50000"/>
                </a:schemeClr>
              </a:solidFill>
            </a:endParaRPr>
          </a:p>
        </p:txBody>
      </p:sp>
      <mc:AlternateContent xmlns:mc="http://schemas.openxmlformats.org/markup-compatibility/2006" xmlns:a14="http://schemas.microsoft.com/office/drawing/2010/main">
        <mc:Choice Requires="a14">
          <p:sp>
            <p:nvSpPr>
              <p:cNvPr id="4" name="Rectangle 16">
                <a:extLst>
                  <a:ext uri="{FF2B5EF4-FFF2-40B4-BE49-F238E27FC236}">
                    <a16:creationId xmlns:a16="http://schemas.microsoft.com/office/drawing/2014/main" id="{F638013A-34FD-6371-68FF-D3CB732E16D6}"/>
                  </a:ext>
                </a:extLst>
              </p:cNvPr>
              <p:cNvSpPr/>
              <p:nvPr/>
            </p:nvSpPr>
            <p:spPr>
              <a:xfrm>
                <a:off x="2701039" y="5910925"/>
                <a:ext cx="7861858" cy="840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r>
                  <a:rPr lang="en-GB" dirty="0">
                    <a:solidFill>
                      <a:schemeClr val="tx2"/>
                    </a:solidFill>
                  </a:rPr>
                  <a:t>Failure Probability =</a:t>
                </a:r>
                <a14:m>
                  <m:oMath xmlns:m="http://schemas.openxmlformats.org/officeDocument/2006/math">
                    <m:r>
                      <a:rPr lang="en-GB" b="0" i="0" smtClean="0">
                        <a:solidFill>
                          <a:schemeClr val="tx2"/>
                        </a:solidFill>
                        <a:latin typeface="Cambria Math" panose="02040503050406030204" pitchFamily="18" charset="0"/>
                      </a:rPr>
                      <m:t> </m:t>
                    </m:r>
                    <m:r>
                      <a:rPr lang="en-GB" b="0" i="1" smtClean="0">
                        <a:solidFill>
                          <a:schemeClr val="tx2"/>
                        </a:solidFill>
                        <a:latin typeface="Cambria Math" panose="02040503050406030204" pitchFamily="18" charset="0"/>
                      </a:rPr>
                      <m:t>𝑃</m:t>
                    </m:r>
                    <m:r>
                      <a:rPr lang="en-GB" b="0" i="1" smtClean="0">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ea typeface="Cambria Math" panose="02040503050406030204" pitchFamily="18" charset="0"/>
                          </a:rPr>
                        </m:ctrlPr>
                      </m:sSubPr>
                      <m:e>
                        <m:r>
                          <a:rPr lang="en-GB" i="1">
                            <a:solidFill>
                              <a:schemeClr val="tx2"/>
                            </a:solidFill>
                            <a:latin typeface="Cambria Math" panose="02040503050406030204" pitchFamily="18" charset="0"/>
                            <a:ea typeface="Cambria Math" panose="02040503050406030204" pitchFamily="18" charset="0"/>
                          </a:rPr>
                          <m:t>𝑌</m:t>
                        </m:r>
                      </m:e>
                      <m:sub>
                        <m:r>
                          <a:rPr lang="en-GB" i="1">
                            <a:solidFill>
                              <a:schemeClr val="tx2"/>
                            </a:solidFill>
                            <a:latin typeface="Cambria Math" panose="02040503050406030204" pitchFamily="18" charset="0"/>
                            <a:ea typeface="Cambria Math" panose="02040503050406030204" pitchFamily="18" charset="0"/>
                          </a:rPr>
                          <m:t>𝑡𝑒𝑠𝑡</m:t>
                        </m:r>
                      </m:sub>
                    </m:sSub>
                  </m:oMath>
                </a14:m>
                <a:r>
                  <a:rPr lang="en-GB" dirty="0">
                    <a:solidFill>
                      <a:schemeClr val="tx2"/>
                    </a:solidFill>
                  </a:rPr>
                  <a:t> is outside </a:t>
                </a:r>
                <a14:m>
                  <m:oMath xmlns:m="http://schemas.openxmlformats.org/officeDocument/2006/math">
                    <m:d>
                      <m:dPr>
                        <m:begChr m:val="["/>
                        <m:endChr m:val="]"/>
                        <m:ctrlPr>
                          <a:rPr lang="en-GB" i="1">
                            <a:solidFill>
                              <a:schemeClr val="tx2"/>
                            </a:solidFill>
                            <a:latin typeface="Cambria Math" panose="02040503050406030204" pitchFamily="18" charset="0"/>
                            <a:ea typeface="Cambria Math" panose="02040503050406030204" pitchFamily="18" charset="0"/>
                          </a:rPr>
                        </m:ctrlPr>
                      </m:dPr>
                      <m:e>
                        <m:acc>
                          <m:accPr>
                            <m:chr m:val="̂"/>
                            <m:ctrlPr>
                              <a:rPr lang="en-GB" i="1">
                                <a:solidFill>
                                  <a:schemeClr val="tx2"/>
                                </a:solidFill>
                                <a:latin typeface="Cambria Math" panose="02040503050406030204" pitchFamily="18" charset="0"/>
                              </a:rPr>
                            </m:ctrlPr>
                          </m:accPr>
                          <m:e>
                            <m:r>
                              <a:rPr lang="en-GB" i="1">
                                <a:solidFill>
                                  <a:schemeClr val="tx2"/>
                                </a:solidFill>
                                <a:latin typeface="Cambria Math" panose="02040503050406030204" pitchFamily="18" charset="0"/>
                              </a:rPr>
                              <m:t>µ</m:t>
                            </m:r>
                          </m:e>
                        </m:acc>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a:rPr lang="en-GB" i="1">
                            <a:solidFill>
                              <a:schemeClr val="tx2"/>
                            </a:solidFill>
                            <a:latin typeface="Cambria Math" panose="02040503050406030204" pitchFamily="18" charset="0"/>
                            <a:ea typeface="Cambria Math" panose="02040503050406030204" pitchFamily="18" charset="0"/>
                          </a:rPr>
                          <m:t>−</m:t>
                        </m:r>
                        <m:r>
                          <m:rPr>
                            <m:nor/>
                          </m:rPr>
                          <a:rPr lang="el-GR" dirty="0">
                            <a:solidFill>
                              <a:schemeClr val="tx2"/>
                            </a:solidFill>
                          </a:rPr>
                          <m:t>ε</m:t>
                        </m:r>
                        <m:r>
                          <a:rPr lang="en-GB" i="1" dirty="0">
                            <a:solidFill>
                              <a:schemeClr val="tx2"/>
                            </a:solidFill>
                            <a:latin typeface="Cambria Math" panose="02040503050406030204" pitchFamily="18" charset="0"/>
                          </a:rPr>
                          <m:t>,</m:t>
                        </m:r>
                        <m:acc>
                          <m:accPr>
                            <m:chr m:val="̂"/>
                            <m:ctrlPr>
                              <a:rPr lang="en-GB" i="1">
                                <a:solidFill>
                                  <a:schemeClr val="tx2"/>
                                </a:solidFill>
                                <a:latin typeface="Cambria Math" panose="02040503050406030204" pitchFamily="18" charset="0"/>
                              </a:rPr>
                            </m:ctrlPr>
                          </m:accPr>
                          <m:e>
                            <m:r>
                              <a:rPr lang="en-GB" i="1">
                                <a:solidFill>
                                  <a:schemeClr val="tx2"/>
                                </a:solidFill>
                                <a:latin typeface="Cambria Math" panose="02040503050406030204" pitchFamily="18" charset="0"/>
                              </a:rPr>
                              <m:t>µ</m:t>
                            </m:r>
                          </m:e>
                        </m:acc>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m:rPr>
                            <m:nor/>
                          </m:rPr>
                          <a:rPr lang="en-GB">
                            <a:solidFill>
                              <a:schemeClr val="tx2"/>
                            </a:solidFill>
                            <a:latin typeface="Cambria Math" panose="02040503050406030204" pitchFamily="18" charset="0"/>
                            <a:ea typeface="Cambria Math" panose="02040503050406030204" pitchFamily="18" charset="0"/>
                          </a:rPr>
                          <m:t>+ </m:t>
                        </m:r>
                        <m:r>
                          <m:rPr>
                            <m:nor/>
                          </m:rPr>
                          <a:rPr lang="el-GR" dirty="0">
                            <a:solidFill>
                              <a:schemeClr val="tx2"/>
                            </a:solidFill>
                          </a:rPr>
                          <m:t>ε</m:t>
                        </m:r>
                      </m:e>
                    </m:d>
                    <m:r>
                      <a:rPr lang="en-GB" b="0" i="1" dirty="0" smtClean="0">
                        <a:solidFill>
                          <a:schemeClr val="tx2"/>
                        </a:solidFill>
                        <a:latin typeface="Cambria Math" panose="02040503050406030204" pitchFamily="18" charset="0"/>
                      </a:rPr>
                      <m:t>)</m:t>
                    </m:r>
                  </m:oMath>
                </a14:m>
                <a:endParaRPr lang="en-GB" dirty="0">
                  <a:solidFill>
                    <a:schemeClr val="tx2"/>
                  </a:solidFill>
                </a:endParaRPr>
              </a:p>
            </p:txBody>
          </p:sp>
        </mc:Choice>
        <mc:Fallback xmlns="">
          <p:sp>
            <p:nvSpPr>
              <p:cNvPr id="4" name="Rectangle 16">
                <a:extLst>
                  <a:ext uri="{FF2B5EF4-FFF2-40B4-BE49-F238E27FC236}">
                    <a16:creationId xmlns:a16="http://schemas.microsoft.com/office/drawing/2014/main" id="{F638013A-34FD-6371-68FF-D3CB732E16D6}"/>
                  </a:ext>
                </a:extLst>
              </p:cNvPr>
              <p:cNvSpPr>
                <a:spLocks noRot="1" noChangeAspect="1" noMove="1" noResize="1" noEditPoints="1" noAdjustHandles="1" noChangeArrowheads="1" noChangeShapeType="1" noTextEdit="1"/>
              </p:cNvSpPr>
              <p:nvPr/>
            </p:nvSpPr>
            <p:spPr>
              <a:xfrm>
                <a:off x="2701039" y="5910925"/>
                <a:ext cx="7861858" cy="840705"/>
              </a:xfrm>
              <a:prstGeom prst="rect">
                <a:avLst/>
              </a:prstGeom>
              <a:blipFill>
                <a:blip r:embed="rId8"/>
                <a:stretch>
                  <a:fillRect l="-620"/>
                </a:stretch>
              </a:blipFill>
              <a:ln w="12700">
                <a:noFill/>
              </a:ln>
            </p:spPr>
            <p:txBody>
              <a:bodyPr/>
              <a:lstStyle/>
              <a:p>
                <a:r>
                  <a:rPr lang="en-US">
                    <a:noFill/>
                  </a:rPr>
                  <a:t> </a:t>
                </a:r>
              </a:p>
            </p:txBody>
          </p:sp>
        </mc:Fallback>
      </mc:AlternateContent>
    </p:spTree>
    <p:extLst>
      <p:ext uri="{BB962C8B-B14F-4D97-AF65-F5344CB8AC3E}">
        <p14:creationId xmlns:p14="http://schemas.microsoft.com/office/powerpoint/2010/main" val="316767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DD5F02-AC4C-4BFC-ACFC-B065E36910F7}"/>
              </a:ext>
            </a:extLst>
          </p:cNvPr>
          <p:cNvSpPr>
            <a:spLocks noGrp="1"/>
          </p:cNvSpPr>
          <p:nvPr>
            <p:ph type="sldNum" sz="quarter" idx="11"/>
          </p:nvPr>
        </p:nvSpPr>
        <p:spPr/>
        <p:txBody>
          <a:bodyPr/>
          <a:lstStyle/>
          <a:p>
            <a:fld id="{D94909C6-CC71-4962-A18E-AF0515723D95}" type="slidenum">
              <a:rPr lang="en-GB" smtClean="0"/>
              <a:pPr/>
              <a:t>6</a:t>
            </a:fld>
            <a:endParaRPr lang="en-GB"/>
          </a:p>
        </p:txBody>
      </p:sp>
      <mc:AlternateContent xmlns:mc="http://schemas.openxmlformats.org/markup-compatibility/2006" xmlns:a14="http://schemas.microsoft.com/office/drawing/2010/main">
        <mc:Choice Requires="a14">
          <p:sp>
            <p:nvSpPr>
              <p:cNvPr id="3" name="Rectangle 16">
                <a:extLst>
                  <a:ext uri="{FF2B5EF4-FFF2-40B4-BE49-F238E27FC236}">
                    <a16:creationId xmlns:a16="http://schemas.microsoft.com/office/drawing/2014/main" id="{9F01649A-1CC3-0157-9CDF-4BC0763521BF}"/>
                  </a:ext>
                </a:extLst>
              </p:cNvPr>
              <p:cNvSpPr/>
              <p:nvPr/>
            </p:nvSpPr>
            <p:spPr>
              <a:xfrm>
                <a:off x="1096551" y="1866977"/>
                <a:ext cx="8236479" cy="5569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14:m>
                  <m:oMathPara xmlns:m="http://schemas.openxmlformats.org/officeDocument/2006/math">
                    <m:oMathParaPr>
                      <m:jc m:val="centerGroup"/>
                    </m:oMathParaPr>
                    <m:oMath xmlns:m="http://schemas.openxmlformats.org/officeDocument/2006/math">
                      <m:r>
                        <m:rPr>
                          <m:nor/>
                        </m:rPr>
                        <a:rPr lang="en-US" dirty="0">
                          <a:solidFill>
                            <a:schemeClr val="tx2"/>
                          </a:solidFill>
                        </a:rPr>
                        <m:t>Expected</m:t>
                      </m:r>
                      <m:r>
                        <m:rPr>
                          <m:nor/>
                        </m:rPr>
                        <a:rPr lang="en-US" dirty="0">
                          <a:solidFill>
                            <a:schemeClr val="tx2"/>
                          </a:solidFill>
                        </a:rPr>
                        <m:t> </m:t>
                      </m:r>
                      <m:r>
                        <m:rPr>
                          <m:nor/>
                        </m:rPr>
                        <a:rPr lang="en-GB" b="0" i="0" dirty="0" smtClean="0">
                          <a:solidFill>
                            <a:schemeClr val="tx2"/>
                          </a:solidFill>
                        </a:rPr>
                        <m:t>C</m:t>
                      </m:r>
                      <m:r>
                        <m:rPr>
                          <m:nor/>
                        </m:rPr>
                        <a:rPr lang="en-US" dirty="0">
                          <a:solidFill>
                            <a:schemeClr val="tx2"/>
                          </a:solidFill>
                        </a:rPr>
                        <m:t>laims</m:t>
                      </m:r>
                      <m:r>
                        <m:rPr>
                          <m:nor/>
                        </m:rPr>
                        <a:rPr lang="en-US" dirty="0">
                          <a:solidFill>
                            <a:schemeClr val="tx2"/>
                          </a:solidFill>
                        </a:rPr>
                        <m:t> </m:t>
                      </m:r>
                      <m:r>
                        <m:rPr>
                          <m:nor/>
                        </m:rPr>
                        <a:rPr lang="en-GB" b="0" i="0" dirty="0" smtClean="0">
                          <a:solidFill>
                            <a:schemeClr val="tx2"/>
                          </a:solidFill>
                        </a:rPr>
                        <m:t>C</m:t>
                      </m:r>
                      <m:r>
                        <m:rPr>
                          <m:nor/>
                        </m:rPr>
                        <a:rPr lang="en-US" dirty="0">
                          <a:solidFill>
                            <a:schemeClr val="tx2"/>
                          </a:solidFill>
                        </a:rPr>
                        <m:t>ost</m:t>
                      </m:r>
                      <m:r>
                        <m:rPr>
                          <m:nor/>
                        </m:rPr>
                        <a:rPr lang="en-US" dirty="0">
                          <a:solidFill>
                            <a:schemeClr val="tx2"/>
                          </a:solidFill>
                        </a:rPr>
                        <m:t> </m:t>
                      </m:r>
                      <m:r>
                        <m:rPr>
                          <m:nor/>
                        </m:rPr>
                        <a:rPr lang="en-GB" b="0" i="0" dirty="0" smtClean="0">
                          <a:solidFill>
                            <a:schemeClr val="tx2"/>
                          </a:solidFill>
                        </a:rPr>
                        <m:t>  </m:t>
                      </m:r>
                      <m:r>
                        <m:rPr>
                          <m:nor/>
                        </m:rPr>
                        <a:rPr lang="en-US" dirty="0">
                          <a:solidFill>
                            <a:schemeClr val="tx2"/>
                          </a:solidFill>
                        </a:rPr>
                        <m:t>=</m:t>
                      </m:r>
                      <m:r>
                        <m:rPr>
                          <m:nor/>
                        </m:rPr>
                        <a:rPr lang="en-GB" b="0" i="0" dirty="0" smtClean="0">
                          <a:solidFill>
                            <a:schemeClr val="tx2"/>
                          </a:solidFill>
                        </a:rPr>
                        <m:t>   </m:t>
                      </m:r>
                      <m:r>
                        <m:rPr>
                          <m:nor/>
                        </m:rPr>
                        <a:rPr lang="en-US" dirty="0">
                          <a:solidFill>
                            <a:schemeClr val="tx2"/>
                          </a:solidFill>
                        </a:rPr>
                        <m:t>Claim</m:t>
                      </m:r>
                      <m:r>
                        <m:rPr>
                          <m:nor/>
                        </m:rPr>
                        <a:rPr lang="en-US" dirty="0">
                          <a:solidFill>
                            <a:schemeClr val="tx2"/>
                          </a:solidFill>
                        </a:rPr>
                        <m:t> </m:t>
                      </m:r>
                      <m:r>
                        <m:rPr>
                          <m:nor/>
                        </m:rPr>
                        <a:rPr lang="en-US" dirty="0">
                          <a:solidFill>
                            <a:schemeClr val="tx2"/>
                          </a:solidFill>
                        </a:rPr>
                        <m:t>Frequency</m:t>
                      </m:r>
                      <m:r>
                        <m:rPr>
                          <m:nor/>
                        </m:rPr>
                        <a:rPr lang="en-GB" b="0" i="0" dirty="0" smtClean="0">
                          <a:solidFill>
                            <a:schemeClr val="tx2"/>
                          </a:solidFill>
                        </a:rPr>
                        <m:t> </m:t>
                      </m:r>
                      <m:r>
                        <m:rPr>
                          <m:nor/>
                        </m:rPr>
                        <a:rPr lang="en-US" dirty="0">
                          <a:solidFill>
                            <a:schemeClr val="tx2"/>
                          </a:solidFill>
                        </a:rPr>
                        <m:t> </m:t>
                      </m:r>
                      <m:r>
                        <m:rPr>
                          <m:nor/>
                        </m:rPr>
                        <a:rPr lang="en-GB" b="0" i="0" dirty="0" smtClean="0">
                          <a:solidFill>
                            <a:schemeClr val="tx2"/>
                          </a:solidFill>
                        </a:rPr>
                        <m:t>X</m:t>
                      </m:r>
                      <m:r>
                        <m:rPr>
                          <m:nor/>
                        </m:rPr>
                        <a:rPr lang="en-US" dirty="0">
                          <a:solidFill>
                            <a:schemeClr val="tx2"/>
                          </a:solidFill>
                        </a:rPr>
                        <m:t> </m:t>
                      </m:r>
                      <m:r>
                        <m:rPr>
                          <m:nor/>
                        </m:rPr>
                        <a:rPr lang="en-GB" b="0" i="0" dirty="0" smtClean="0">
                          <a:solidFill>
                            <a:schemeClr val="tx2"/>
                          </a:solidFill>
                        </a:rPr>
                        <m:t>   </m:t>
                      </m:r>
                      <m:r>
                        <m:rPr>
                          <m:nor/>
                        </m:rPr>
                        <a:rPr lang="en-US" dirty="0">
                          <a:solidFill>
                            <a:schemeClr val="tx2"/>
                          </a:solidFill>
                        </a:rPr>
                        <m:t>Claim</m:t>
                      </m:r>
                      <m:r>
                        <m:rPr>
                          <m:nor/>
                        </m:rPr>
                        <a:rPr lang="en-US" dirty="0">
                          <a:solidFill>
                            <a:schemeClr val="tx2"/>
                          </a:solidFill>
                        </a:rPr>
                        <m:t> </m:t>
                      </m:r>
                      <m:r>
                        <m:rPr>
                          <m:nor/>
                        </m:rPr>
                        <a:rPr lang="en-US" dirty="0">
                          <a:solidFill>
                            <a:schemeClr val="tx2"/>
                          </a:solidFill>
                        </a:rPr>
                        <m:t>Severity</m:t>
                      </m:r>
                    </m:oMath>
                  </m:oMathPara>
                </a14:m>
                <a:endParaRPr lang="en-US">
                  <a:solidFill>
                    <a:schemeClr val="tx2"/>
                  </a:solidFill>
                </a:endParaRPr>
              </a:p>
              <a:p>
                <a:pPr defTabSz="359991">
                  <a:lnSpc>
                    <a:spcPct val="110000"/>
                  </a:lnSpc>
                  <a:spcAft>
                    <a:spcPts val="800"/>
                  </a:spcAft>
                </a:pPr>
                <a:endParaRPr lang="en-US" sz="2000"/>
              </a:p>
            </p:txBody>
          </p:sp>
        </mc:Choice>
        <mc:Fallback xmlns="">
          <p:sp>
            <p:nvSpPr>
              <p:cNvPr id="3" name="Rectangle 16">
                <a:extLst>
                  <a:ext uri="{FF2B5EF4-FFF2-40B4-BE49-F238E27FC236}">
                    <a16:creationId xmlns:a16="http://schemas.microsoft.com/office/drawing/2014/main" id="{9F01649A-1CC3-0157-9CDF-4BC0763521BF}"/>
                  </a:ext>
                </a:extLst>
              </p:cNvPr>
              <p:cNvSpPr>
                <a:spLocks noRot="1" noChangeAspect="1" noMove="1" noResize="1" noEditPoints="1" noAdjustHandles="1" noChangeArrowheads="1" noChangeShapeType="1" noTextEdit="1"/>
              </p:cNvSpPr>
              <p:nvPr/>
            </p:nvSpPr>
            <p:spPr>
              <a:xfrm>
                <a:off x="1096551" y="1866977"/>
                <a:ext cx="8236479" cy="556927"/>
              </a:xfrm>
              <a:prstGeom prst="rect">
                <a:avLst/>
              </a:prstGeom>
              <a:blipFill>
                <a:blip r:embed="rId3"/>
                <a:stretch>
                  <a:fillRect t="-4348"/>
                </a:stretch>
              </a:blipFill>
              <a:ln w="12700">
                <a:noFill/>
              </a:ln>
            </p:spPr>
            <p:txBody>
              <a:bodyPr/>
              <a:lstStyle/>
              <a:p>
                <a:r>
                  <a:rPr lang="en-US">
                    <a:noFill/>
                  </a:rPr>
                  <a:t> </a:t>
                </a:r>
              </a:p>
            </p:txBody>
          </p:sp>
        </mc:Fallback>
      </mc:AlternateContent>
      <p:sp>
        <p:nvSpPr>
          <p:cNvPr id="8" name="Rectangle 16">
            <a:extLst>
              <a:ext uri="{FF2B5EF4-FFF2-40B4-BE49-F238E27FC236}">
                <a16:creationId xmlns:a16="http://schemas.microsoft.com/office/drawing/2014/main" id="{647988E5-C8E5-5CFF-0A46-37D128FE5CB8}"/>
              </a:ext>
            </a:extLst>
          </p:cNvPr>
          <p:cNvSpPr/>
          <p:nvPr/>
        </p:nvSpPr>
        <p:spPr>
          <a:xfrm>
            <a:off x="6696835" y="2649033"/>
            <a:ext cx="2946884" cy="5569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r>
              <a:rPr lang="en-GB" sz="1400">
                <a:solidFill>
                  <a:schemeClr val="tx2"/>
                </a:solidFill>
              </a:rPr>
              <a:t>Independent of the extent of underperformance</a:t>
            </a:r>
            <a:endParaRPr lang="en-GB" sz="1400" dirty="0">
              <a:solidFill>
                <a:schemeClr val="tx2"/>
              </a:solidFill>
            </a:endParaRPr>
          </a:p>
        </p:txBody>
      </p:sp>
      <p:sp>
        <p:nvSpPr>
          <p:cNvPr id="10" name="Rectangle 16">
            <a:extLst>
              <a:ext uri="{FF2B5EF4-FFF2-40B4-BE49-F238E27FC236}">
                <a16:creationId xmlns:a16="http://schemas.microsoft.com/office/drawing/2014/main" id="{92155782-8AC3-E909-9BA0-2BDF1E04DAB5}"/>
              </a:ext>
            </a:extLst>
          </p:cNvPr>
          <p:cNvSpPr/>
          <p:nvPr/>
        </p:nvSpPr>
        <p:spPr>
          <a:xfrm>
            <a:off x="1412739" y="3400030"/>
            <a:ext cx="9891261" cy="8656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r>
              <a:rPr lang="en-US">
                <a:solidFill>
                  <a:schemeClr val="tx2"/>
                </a:solidFill>
              </a:rPr>
              <a:t>Claim Frequency  =  Number of instances of model under-performance </a:t>
            </a:r>
          </a:p>
          <a:p>
            <a:pPr lvl="1" defTabSz="359991">
              <a:lnSpc>
                <a:spcPct val="110000"/>
              </a:lnSpc>
              <a:spcAft>
                <a:spcPts val="800"/>
              </a:spcAft>
            </a:pPr>
            <a:r>
              <a:rPr lang="en-US">
                <a:solidFill>
                  <a:schemeClr val="tx2"/>
                </a:solidFill>
              </a:rPr>
              <a:t>				 =  Number of times model is used  X  Probability of under-performance</a:t>
            </a:r>
          </a:p>
        </p:txBody>
      </p:sp>
      <p:cxnSp>
        <p:nvCxnSpPr>
          <p:cNvPr id="39" name="Straight Arrow Connector 38">
            <a:extLst>
              <a:ext uri="{FF2B5EF4-FFF2-40B4-BE49-F238E27FC236}">
                <a16:creationId xmlns:a16="http://schemas.microsoft.com/office/drawing/2014/main" id="{91D053C1-21EB-0C50-98EB-1186917592BA}"/>
              </a:ext>
            </a:extLst>
          </p:cNvPr>
          <p:cNvCxnSpPr/>
          <p:nvPr/>
        </p:nvCxnSpPr>
        <p:spPr>
          <a:xfrm>
            <a:off x="7664088" y="2097327"/>
            <a:ext cx="0" cy="4426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3DBD4405-62A6-C599-6103-6628A2B70467}"/>
              </a:ext>
            </a:extLst>
          </p:cNvPr>
          <p:cNvSpPr/>
          <p:nvPr/>
        </p:nvSpPr>
        <p:spPr>
          <a:xfrm>
            <a:off x="4600280" y="1725299"/>
            <a:ext cx="1960775" cy="442642"/>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50" name="Rectangle 16">
            <a:extLst>
              <a:ext uri="{FF2B5EF4-FFF2-40B4-BE49-F238E27FC236}">
                <a16:creationId xmlns:a16="http://schemas.microsoft.com/office/drawing/2014/main" id="{095D719D-4801-F3A9-B773-CCDE98A33A20}"/>
              </a:ext>
            </a:extLst>
          </p:cNvPr>
          <p:cNvSpPr/>
          <p:nvPr/>
        </p:nvSpPr>
        <p:spPr>
          <a:xfrm>
            <a:off x="4010534" y="4790163"/>
            <a:ext cx="2946884" cy="5569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r>
              <a:rPr lang="en-GB" sz="1400">
                <a:solidFill>
                  <a:schemeClr val="tx2"/>
                </a:solidFill>
              </a:rPr>
              <a:t>Will </a:t>
            </a:r>
            <a:r>
              <a:rPr lang="en-GB" sz="1400" b="1"/>
              <a:t>not</a:t>
            </a:r>
            <a:r>
              <a:rPr lang="en-GB" sz="1400">
                <a:solidFill>
                  <a:schemeClr val="tx2"/>
                </a:solidFill>
              </a:rPr>
              <a:t> depend on model’s performance</a:t>
            </a:r>
          </a:p>
        </p:txBody>
      </p:sp>
      <p:cxnSp>
        <p:nvCxnSpPr>
          <p:cNvPr id="51" name="Straight Arrow Connector 50">
            <a:extLst>
              <a:ext uri="{FF2B5EF4-FFF2-40B4-BE49-F238E27FC236}">
                <a16:creationId xmlns:a16="http://schemas.microsoft.com/office/drawing/2014/main" id="{98D5F3D8-3042-2664-0067-DA46573B971F}"/>
              </a:ext>
            </a:extLst>
          </p:cNvPr>
          <p:cNvCxnSpPr/>
          <p:nvPr/>
        </p:nvCxnSpPr>
        <p:spPr>
          <a:xfrm>
            <a:off x="4977787" y="4238457"/>
            <a:ext cx="0" cy="4426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E253EE90-7AF7-A6D6-7B8B-475EA7D75846}"/>
              </a:ext>
            </a:extLst>
          </p:cNvPr>
          <p:cNvSpPr/>
          <p:nvPr/>
        </p:nvSpPr>
        <p:spPr>
          <a:xfrm>
            <a:off x="7079529" y="3831677"/>
            <a:ext cx="3507673" cy="442642"/>
          </a:xfrm>
          <a:prstGeom prst="rect">
            <a:avLst/>
          </a:prstGeom>
          <a:no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a:solidFill>
                <a:schemeClr val="bg1"/>
              </a:solidFill>
            </a:endParaRPr>
          </a:p>
        </p:txBody>
      </p:sp>
      <p:sp>
        <p:nvSpPr>
          <p:cNvPr id="54" name="Oval 53">
            <a:extLst>
              <a:ext uri="{FF2B5EF4-FFF2-40B4-BE49-F238E27FC236}">
                <a16:creationId xmlns:a16="http://schemas.microsoft.com/office/drawing/2014/main" id="{DC791834-56F4-6AE6-EEAB-FC173ED7DE7B}"/>
              </a:ext>
            </a:extLst>
          </p:cNvPr>
          <p:cNvSpPr/>
          <p:nvPr/>
        </p:nvSpPr>
        <p:spPr>
          <a:xfrm>
            <a:off x="7383107" y="4376407"/>
            <a:ext cx="2459534" cy="94308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400">
                <a:solidFill>
                  <a:schemeClr val="bg1"/>
                </a:solidFill>
              </a:rPr>
              <a:t>Function of model performance to be estimated</a:t>
            </a:r>
          </a:p>
        </p:txBody>
      </p:sp>
      <p:cxnSp>
        <p:nvCxnSpPr>
          <p:cNvPr id="59" name="Connector: Elbow 58">
            <a:extLst>
              <a:ext uri="{FF2B5EF4-FFF2-40B4-BE49-F238E27FC236}">
                <a16:creationId xmlns:a16="http://schemas.microsoft.com/office/drawing/2014/main" id="{98EB974A-D8A1-5B22-7A24-A92B0EE7D664}"/>
              </a:ext>
            </a:extLst>
          </p:cNvPr>
          <p:cNvCxnSpPr>
            <a:cxnSpLocks/>
            <a:stCxn id="40" idx="2"/>
          </p:cNvCxnSpPr>
          <p:nvPr/>
        </p:nvCxnSpPr>
        <p:spPr>
          <a:xfrm rot="5400000">
            <a:off x="3332091" y="1235976"/>
            <a:ext cx="1316613" cy="31805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itle 19">
            <a:extLst>
              <a:ext uri="{FF2B5EF4-FFF2-40B4-BE49-F238E27FC236}">
                <a16:creationId xmlns:a16="http://schemas.microsoft.com/office/drawing/2014/main" id="{D5175067-795B-BC1F-384E-93DC5E34252B}"/>
              </a:ext>
            </a:extLst>
          </p:cNvPr>
          <p:cNvSpPr txBox="1">
            <a:spLocks/>
          </p:cNvSpPr>
          <p:nvPr/>
        </p:nvSpPr>
        <p:spPr>
          <a:xfrm>
            <a:off x="336000" y="336000"/>
            <a:ext cx="9840000" cy="76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accent1"/>
                </a:solidFill>
                <a:latin typeface="+mj-lt"/>
                <a:ea typeface="+mj-ea"/>
                <a:cs typeface="+mj-cs"/>
              </a:defRPr>
            </a:lvl1pPr>
          </a:lstStyle>
          <a:p>
            <a:r>
              <a:rPr lang="en-GB" sz="2667" dirty="0">
                <a:solidFill>
                  <a:schemeClr val="tx1"/>
                </a:solidFill>
              </a:rPr>
              <a:t>Pricing performance risk</a:t>
            </a:r>
            <a:br>
              <a:rPr lang="en-GB" sz="3733" dirty="0">
                <a:solidFill>
                  <a:schemeClr val="tx2"/>
                </a:solidFill>
              </a:rPr>
            </a:br>
            <a:r>
              <a:rPr lang="en-US" sz="2133" dirty="0">
                <a:solidFill>
                  <a:schemeClr val="tx2">
                    <a:alpha val="50000"/>
                  </a:schemeClr>
                </a:solidFill>
              </a:rPr>
              <a:t>Defining model under-performance</a:t>
            </a:r>
            <a:br>
              <a:rPr lang="en-GB" sz="2667" dirty="0">
                <a:solidFill>
                  <a:schemeClr val="tx2">
                    <a:alpha val="50000"/>
                  </a:schemeClr>
                </a:solidFill>
              </a:rPr>
            </a:br>
            <a:br>
              <a:rPr lang="en-GB" sz="1467" dirty="0">
                <a:solidFill>
                  <a:schemeClr val="tx2">
                    <a:alpha val="50000"/>
                  </a:schemeClr>
                </a:solidFill>
              </a:rPr>
            </a:br>
            <a:endParaRPr lang="en-GB" sz="3733" dirty="0">
              <a:solidFill>
                <a:schemeClr val="tx2">
                  <a:alpha val="50000"/>
                </a:schemeClr>
              </a:solidFill>
            </a:endParaRPr>
          </a:p>
        </p:txBody>
      </p:sp>
      <mc:AlternateContent xmlns:mc="http://schemas.openxmlformats.org/markup-compatibility/2006" xmlns:a14="http://schemas.microsoft.com/office/drawing/2010/main">
        <mc:Choice Requires="a14">
          <p:sp>
            <p:nvSpPr>
              <p:cNvPr id="4" name="Rectangle 16">
                <a:extLst>
                  <a:ext uri="{FF2B5EF4-FFF2-40B4-BE49-F238E27FC236}">
                    <a16:creationId xmlns:a16="http://schemas.microsoft.com/office/drawing/2014/main" id="{8C9400B6-8B66-0429-B717-3F5C4BACCC63}"/>
                  </a:ext>
                </a:extLst>
              </p:cNvPr>
              <p:cNvSpPr/>
              <p:nvPr/>
            </p:nvSpPr>
            <p:spPr>
              <a:xfrm>
                <a:off x="2630126" y="5590363"/>
                <a:ext cx="7861858" cy="84070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defTabSz="359991">
                  <a:lnSpc>
                    <a:spcPct val="110000"/>
                  </a:lnSpc>
                  <a:spcAft>
                    <a:spcPts val="800"/>
                  </a:spcAft>
                </a:pPr>
                <a:r>
                  <a:rPr lang="en-GB" dirty="0">
                    <a:solidFill>
                      <a:schemeClr val="tx2"/>
                    </a:solidFill>
                  </a:rPr>
                  <a:t>Failure Probability =</a:t>
                </a:r>
                <a14:m>
                  <m:oMath xmlns:m="http://schemas.openxmlformats.org/officeDocument/2006/math">
                    <m:r>
                      <a:rPr lang="en-GB" b="0" i="0" smtClean="0">
                        <a:solidFill>
                          <a:schemeClr val="tx2"/>
                        </a:solidFill>
                        <a:latin typeface="Cambria Math" panose="02040503050406030204" pitchFamily="18" charset="0"/>
                      </a:rPr>
                      <m:t> </m:t>
                    </m:r>
                    <m:r>
                      <a:rPr lang="en-GB" b="0" i="1" smtClean="0">
                        <a:solidFill>
                          <a:schemeClr val="tx2"/>
                        </a:solidFill>
                        <a:latin typeface="Cambria Math" panose="02040503050406030204" pitchFamily="18" charset="0"/>
                      </a:rPr>
                      <m:t>𝑃</m:t>
                    </m:r>
                    <m:r>
                      <a:rPr lang="en-GB" b="0" i="1" smtClean="0">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ea typeface="Cambria Math" panose="02040503050406030204" pitchFamily="18" charset="0"/>
                          </a:rPr>
                        </m:ctrlPr>
                      </m:sSubPr>
                      <m:e>
                        <m:r>
                          <a:rPr lang="en-GB" i="1">
                            <a:solidFill>
                              <a:schemeClr val="tx2"/>
                            </a:solidFill>
                            <a:latin typeface="Cambria Math" panose="02040503050406030204" pitchFamily="18" charset="0"/>
                            <a:ea typeface="Cambria Math" panose="02040503050406030204" pitchFamily="18" charset="0"/>
                          </a:rPr>
                          <m:t>𝑌</m:t>
                        </m:r>
                      </m:e>
                      <m:sub>
                        <m:r>
                          <a:rPr lang="en-GB" i="1" smtClean="0">
                            <a:solidFill>
                              <a:schemeClr val="tx2"/>
                            </a:solidFill>
                            <a:latin typeface="Cambria Math" panose="02040503050406030204" pitchFamily="18" charset="0"/>
                            <a:ea typeface="Cambria Math" panose="02040503050406030204" pitchFamily="18" charset="0"/>
                          </a:rPr>
                          <m:t>𝑡𝑒𝑠𝑡</m:t>
                        </m:r>
                      </m:sub>
                    </m:sSub>
                  </m:oMath>
                </a14:m>
                <a:r>
                  <a:rPr lang="en-GB" dirty="0">
                    <a:solidFill>
                      <a:schemeClr val="tx2"/>
                    </a:solidFill>
                  </a:rPr>
                  <a:t> is outside </a:t>
                </a:r>
                <a14:m>
                  <m:oMath xmlns:m="http://schemas.openxmlformats.org/officeDocument/2006/math">
                    <m:d>
                      <m:dPr>
                        <m:begChr m:val="["/>
                        <m:endChr m:val="]"/>
                        <m:ctrlPr>
                          <a:rPr lang="en-GB" i="1">
                            <a:solidFill>
                              <a:schemeClr val="tx2"/>
                            </a:solidFill>
                            <a:latin typeface="Cambria Math" panose="02040503050406030204" pitchFamily="18" charset="0"/>
                            <a:ea typeface="Cambria Math" panose="02040503050406030204" pitchFamily="18" charset="0"/>
                          </a:rPr>
                        </m:ctrlPr>
                      </m:dPr>
                      <m:e>
                        <m:acc>
                          <m:accPr>
                            <m:chr m:val="̂"/>
                            <m:ctrlPr>
                              <a:rPr lang="en-GB" i="1">
                                <a:solidFill>
                                  <a:schemeClr val="tx2"/>
                                </a:solidFill>
                                <a:latin typeface="Cambria Math" panose="02040503050406030204" pitchFamily="18" charset="0"/>
                              </a:rPr>
                            </m:ctrlPr>
                          </m:accPr>
                          <m:e>
                            <m:r>
                              <a:rPr lang="en-GB" i="1">
                                <a:solidFill>
                                  <a:schemeClr val="tx2"/>
                                </a:solidFill>
                                <a:latin typeface="Cambria Math" panose="02040503050406030204" pitchFamily="18" charset="0"/>
                              </a:rPr>
                              <m:t>µ</m:t>
                            </m:r>
                          </m:e>
                        </m:acc>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a:rPr lang="en-GB" i="1">
                            <a:solidFill>
                              <a:schemeClr val="tx2"/>
                            </a:solidFill>
                            <a:latin typeface="Cambria Math" panose="02040503050406030204" pitchFamily="18" charset="0"/>
                            <a:ea typeface="Cambria Math" panose="02040503050406030204" pitchFamily="18" charset="0"/>
                          </a:rPr>
                          <m:t>−</m:t>
                        </m:r>
                        <m:r>
                          <m:rPr>
                            <m:nor/>
                          </m:rPr>
                          <a:rPr lang="el-GR" dirty="0">
                            <a:solidFill>
                              <a:schemeClr val="tx2"/>
                            </a:solidFill>
                          </a:rPr>
                          <m:t>ε</m:t>
                        </m:r>
                        <m:r>
                          <a:rPr lang="en-GB" i="1" dirty="0">
                            <a:solidFill>
                              <a:schemeClr val="tx2"/>
                            </a:solidFill>
                            <a:latin typeface="Cambria Math" panose="02040503050406030204" pitchFamily="18" charset="0"/>
                          </a:rPr>
                          <m:t>,</m:t>
                        </m:r>
                        <m:acc>
                          <m:accPr>
                            <m:chr m:val="̂"/>
                            <m:ctrlPr>
                              <a:rPr lang="en-GB" i="1">
                                <a:solidFill>
                                  <a:schemeClr val="tx2"/>
                                </a:solidFill>
                                <a:latin typeface="Cambria Math" panose="02040503050406030204" pitchFamily="18" charset="0"/>
                              </a:rPr>
                            </m:ctrlPr>
                          </m:accPr>
                          <m:e>
                            <m:r>
                              <a:rPr lang="en-GB" i="1">
                                <a:solidFill>
                                  <a:schemeClr val="tx2"/>
                                </a:solidFill>
                                <a:latin typeface="Cambria Math" panose="02040503050406030204" pitchFamily="18" charset="0"/>
                              </a:rPr>
                              <m:t>µ</m:t>
                            </m:r>
                          </m:e>
                        </m:acc>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𝑡𝑒𝑠𝑡</m:t>
                                </m:r>
                              </m:sub>
                            </m:sSub>
                          </m:e>
                        </m:d>
                        <m:r>
                          <m:rPr>
                            <m:nor/>
                          </m:rPr>
                          <a:rPr lang="en-GB">
                            <a:solidFill>
                              <a:schemeClr val="tx2"/>
                            </a:solidFill>
                            <a:latin typeface="Cambria Math" panose="02040503050406030204" pitchFamily="18" charset="0"/>
                            <a:ea typeface="Cambria Math" panose="02040503050406030204" pitchFamily="18" charset="0"/>
                          </a:rPr>
                          <m:t>+ </m:t>
                        </m:r>
                        <m:r>
                          <m:rPr>
                            <m:nor/>
                          </m:rPr>
                          <a:rPr lang="el-GR" dirty="0">
                            <a:solidFill>
                              <a:schemeClr val="tx2"/>
                            </a:solidFill>
                          </a:rPr>
                          <m:t>ε</m:t>
                        </m:r>
                      </m:e>
                    </m:d>
                    <m:r>
                      <a:rPr lang="en-GB" b="0" i="1" dirty="0" smtClean="0">
                        <a:solidFill>
                          <a:schemeClr val="tx2"/>
                        </a:solidFill>
                        <a:latin typeface="Cambria Math" panose="02040503050406030204" pitchFamily="18" charset="0"/>
                      </a:rPr>
                      <m:t>)</m:t>
                    </m:r>
                  </m:oMath>
                </a14:m>
                <a:endParaRPr lang="en-GB" dirty="0">
                  <a:solidFill>
                    <a:schemeClr val="tx2"/>
                  </a:solidFill>
                </a:endParaRPr>
              </a:p>
            </p:txBody>
          </p:sp>
        </mc:Choice>
        <mc:Fallback xmlns="">
          <p:sp>
            <p:nvSpPr>
              <p:cNvPr id="4" name="Rectangle 16">
                <a:extLst>
                  <a:ext uri="{FF2B5EF4-FFF2-40B4-BE49-F238E27FC236}">
                    <a16:creationId xmlns:a16="http://schemas.microsoft.com/office/drawing/2014/main" id="{8C9400B6-8B66-0429-B717-3F5C4BACCC63}"/>
                  </a:ext>
                </a:extLst>
              </p:cNvPr>
              <p:cNvSpPr>
                <a:spLocks noRot="1" noChangeAspect="1" noMove="1" noResize="1" noEditPoints="1" noAdjustHandles="1" noChangeArrowheads="1" noChangeShapeType="1" noTextEdit="1"/>
              </p:cNvSpPr>
              <p:nvPr/>
            </p:nvSpPr>
            <p:spPr>
              <a:xfrm>
                <a:off x="2630126" y="5590363"/>
                <a:ext cx="7861858" cy="840705"/>
              </a:xfrm>
              <a:prstGeom prst="rect">
                <a:avLst/>
              </a:prstGeom>
              <a:blipFill>
                <a:blip r:embed="rId4"/>
                <a:stretch>
                  <a:fillRect l="-620"/>
                </a:stretch>
              </a:blipFill>
              <a:ln w="12700">
                <a:noFill/>
              </a:ln>
            </p:spPr>
            <p:txBody>
              <a:bodyPr/>
              <a:lstStyle/>
              <a:p>
                <a:r>
                  <a:rPr lang="en-US">
                    <a:noFill/>
                  </a:rPr>
                  <a:t> </a:t>
                </a:r>
              </a:p>
            </p:txBody>
          </p:sp>
        </mc:Fallback>
      </mc:AlternateContent>
    </p:spTree>
    <p:extLst>
      <p:ext uri="{BB962C8B-B14F-4D97-AF65-F5344CB8AC3E}">
        <p14:creationId xmlns:p14="http://schemas.microsoft.com/office/powerpoint/2010/main" val="423019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40" grpId="0" animBg="1"/>
      <p:bldP spid="50" grpId="0"/>
      <p:bldP spid="52" grpId="0" animBg="1"/>
      <p:bldP spid="54" grpId="0" animBg="1"/>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Shape, square&#10;&#10;Description automatically generated with medium confidence">
            <a:extLst>
              <a:ext uri="{FF2B5EF4-FFF2-40B4-BE49-F238E27FC236}">
                <a16:creationId xmlns:a16="http://schemas.microsoft.com/office/drawing/2014/main" id="{F9B5662E-B399-4385-80C1-C6C5921B7C73}"/>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t="39978" b="39978"/>
          <a:stretch>
            <a:fillRect/>
          </a:stretch>
        </p:blipFill>
        <p:spPr>
          <a:xfrm>
            <a:off x="0" y="-51372"/>
            <a:ext cx="12192000" cy="6909371"/>
          </a:xfrm>
        </p:spPr>
      </p:pic>
      <p:sp>
        <p:nvSpPr>
          <p:cNvPr id="18" name="Rectangle 11">
            <a:extLst>
              <a:ext uri="{FF2B5EF4-FFF2-40B4-BE49-F238E27FC236}">
                <a16:creationId xmlns:a16="http://schemas.microsoft.com/office/drawing/2014/main" id="{93148A00-BC0A-4D80-87A4-8AFCDF9FF389}"/>
              </a:ext>
            </a:extLst>
          </p:cNvPr>
          <p:cNvSpPr/>
          <p:nvPr/>
        </p:nvSpPr>
        <p:spPr>
          <a:xfrm>
            <a:off x="22261" y="2342508"/>
            <a:ext cx="12192000" cy="1941816"/>
          </a:xfrm>
          <a:prstGeom prst="rect">
            <a:avLst/>
          </a:prstGeom>
          <a:solidFill>
            <a:schemeClr val="accent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aphicFrame>
        <p:nvGraphicFramePr>
          <p:cNvPr id="6" name="Objekt 5" hidden="1">
            <a:extLst>
              <a:ext uri="{FF2B5EF4-FFF2-40B4-BE49-F238E27FC236}">
                <a16:creationId xmlns:a16="http://schemas.microsoft.com/office/drawing/2014/main" id="{ECD6A80E-5864-463A-8A1A-F9B5153B571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6" imgW="344" imgH="344" progId="TCLayout.ActiveDocument.1">
                  <p:embed/>
                </p:oleObj>
              </mc:Choice>
              <mc:Fallback>
                <p:oleObj name="think-cell Folie" r:id="rId6" imgW="344" imgH="344" progId="TCLayout.ActiveDocument.1">
                  <p:embed/>
                  <p:pic>
                    <p:nvPicPr>
                      <p:cNvPr id="6" name="Objekt 5" hidden="1">
                        <a:extLst>
                          <a:ext uri="{FF2B5EF4-FFF2-40B4-BE49-F238E27FC236}">
                            <a16:creationId xmlns:a16="http://schemas.microsoft.com/office/drawing/2014/main" id="{ECD6A80E-5864-463A-8A1A-F9B5153B5711}"/>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4FB4507-4B98-4C6F-B289-B777D1A574C6}"/>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3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17" name="Group 16">
            <a:extLst>
              <a:ext uri="{FF2B5EF4-FFF2-40B4-BE49-F238E27FC236}">
                <a16:creationId xmlns:a16="http://schemas.microsoft.com/office/drawing/2014/main" id="{93740A2E-CCC3-4D7F-B26B-78F7112C22B3}"/>
              </a:ext>
            </a:extLst>
          </p:cNvPr>
          <p:cNvGrpSpPr/>
          <p:nvPr/>
        </p:nvGrpSpPr>
        <p:grpSpPr>
          <a:xfrm>
            <a:off x="-489680" y="0"/>
            <a:ext cx="269824" cy="1528997"/>
            <a:chOff x="-764499" y="757003"/>
            <a:chExt cx="202368" cy="1146748"/>
          </a:xfrm>
        </p:grpSpPr>
        <p:sp>
          <p:nvSpPr>
            <p:cNvPr id="12" name="Rectangle 11">
              <a:extLst>
                <a:ext uri="{FF2B5EF4-FFF2-40B4-BE49-F238E27FC236}">
                  <a16:creationId xmlns:a16="http://schemas.microsoft.com/office/drawing/2014/main" id="{ED28759A-3C81-434B-AA44-24C99FEAC2C5}"/>
                </a:ext>
              </a:extLst>
            </p:cNvPr>
            <p:cNvSpPr/>
            <p:nvPr/>
          </p:nvSpPr>
          <p:spPr>
            <a:xfrm>
              <a:off x="-764499" y="757003"/>
              <a:ext cx="202368" cy="202368"/>
            </a:xfrm>
            <a:prstGeom prst="rect">
              <a:avLst/>
            </a:prstGeom>
            <a:solidFill>
              <a:srgbClr val="5477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3" name="Rectangle 12">
              <a:extLst>
                <a:ext uri="{FF2B5EF4-FFF2-40B4-BE49-F238E27FC236}">
                  <a16:creationId xmlns:a16="http://schemas.microsoft.com/office/drawing/2014/main" id="{7718DB31-8EC4-4B11-BEE6-287FFEF69396}"/>
                </a:ext>
              </a:extLst>
            </p:cNvPr>
            <p:cNvSpPr/>
            <p:nvPr/>
          </p:nvSpPr>
          <p:spPr>
            <a:xfrm>
              <a:off x="-764499" y="1071796"/>
              <a:ext cx="202368" cy="202368"/>
            </a:xfrm>
            <a:prstGeom prst="rect">
              <a:avLst/>
            </a:prstGeom>
            <a:solidFill>
              <a:srgbClr val="00B4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4" name="Rectangle 13">
              <a:extLst>
                <a:ext uri="{FF2B5EF4-FFF2-40B4-BE49-F238E27FC236}">
                  <a16:creationId xmlns:a16="http://schemas.microsoft.com/office/drawing/2014/main" id="{0FFE6537-C7D0-4726-8973-73C6687B571F}"/>
                </a:ext>
              </a:extLst>
            </p:cNvPr>
            <p:cNvSpPr/>
            <p:nvPr/>
          </p:nvSpPr>
          <p:spPr>
            <a:xfrm>
              <a:off x="-764499" y="1386589"/>
              <a:ext cx="202368" cy="202368"/>
            </a:xfrm>
            <a:prstGeom prst="rect">
              <a:avLst/>
            </a:prstGeom>
            <a:solidFill>
              <a:srgbClr val="26B8A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sp>
          <p:nvSpPr>
            <p:cNvPr id="15" name="Rectangle 14">
              <a:extLst>
                <a:ext uri="{FF2B5EF4-FFF2-40B4-BE49-F238E27FC236}">
                  <a16:creationId xmlns:a16="http://schemas.microsoft.com/office/drawing/2014/main" id="{9BDB601E-306D-4CD3-9B90-25D00DF79307}"/>
                </a:ext>
              </a:extLst>
            </p:cNvPr>
            <p:cNvSpPr/>
            <p:nvPr/>
          </p:nvSpPr>
          <p:spPr>
            <a:xfrm>
              <a:off x="-764499" y="1701383"/>
              <a:ext cx="202368" cy="202368"/>
            </a:xfrm>
            <a:prstGeom prst="rect">
              <a:avLst/>
            </a:prstGeom>
            <a:solidFill>
              <a:srgbClr val="57AB2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x-non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endParaRPr lang="la-Latn" sz="1867">
                <a:solidFill>
                  <a:schemeClr val="bg1"/>
                </a:solidFill>
              </a:endParaRPr>
            </a:p>
          </p:txBody>
        </p:sp>
      </p:grpSp>
      <p:sp>
        <p:nvSpPr>
          <p:cNvPr id="5" name="TextBox 4">
            <a:extLst>
              <a:ext uri="{FF2B5EF4-FFF2-40B4-BE49-F238E27FC236}">
                <a16:creationId xmlns:a16="http://schemas.microsoft.com/office/drawing/2014/main" id="{DE58F1BD-C169-438A-8657-7828C8589B7C}"/>
              </a:ext>
            </a:extLst>
          </p:cNvPr>
          <p:cNvSpPr txBox="1"/>
          <p:nvPr/>
        </p:nvSpPr>
        <p:spPr>
          <a:xfrm>
            <a:off x="1527466" y="2938665"/>
            <a:ext cx="9724115" cy="749501"/>
          </a:xfrm>
          <a:prstGeom prst="rect">
            <a:avLst/>
          </a:prstGeom>
          <a:noFill/>
          <a:effectLst/>
        </p:spPr>
        <p:txBody>
          <a:bodyPr wrap="square" lIns="0" tIns="0" rIns="0" bIns="0" rtlCol="0">
            <a:spAutoFit/>
          </a:bodyPr>
          <a:lstStyle/>
          <a:p>
            <a:pPr>
              <a:lnSpc>
                <a:spcPct val="110000"/>
              </a:lnSpc>
            </a:pPr>
            <a:r>
              <a:rPr lang="en-GB" sz="4800" b="1">
                <a:solidFill>
                  <a:schemeClr val="bg1"/>
                </a:solidFill>
              </a:rPr>
              <a:t>Risk Assessment: Methodology</a:t>
            </a:r>
          </a:p>
        </p:txBody>
      </p:sp>
    </p:spTree>
    <p:extLst>
      <p:ext uri="{BB962C8B-B14F-4D97-AF65-F5344CB8AC3E}">
        <p14:creationId xmlns:p14="http://schemas.microsoft.com/office/powerpoint/2010/main" val="380638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5EFD9C-E3AC-4956-8864-3C11D0555DFF}"/>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95EFD9C-E3AC-4956-8864-3C11D0555DFF}"/>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9DD929D8-DCCA-427E-9C6E-4111CC3DA4BA}"/>
              </a:ext>
            </a:extLst>
          </p:cNvPr>
          <p:cNvSpPr>
            <a:spLocks noGrp="1"/>
          </p:cNvSpPr>
          <p:nvPr>
            <p:ph type="sldNum" sz="quarter" idx="11"/>
          </p:nvPr>
        </p:nvSpPr>
        <p:spPr/>
        <p:txBody>
          <a:bodyPr/>
          <a:lstStyle/>
          <a:p>
            <a:pPr defTabSz="914354"/>
            <a:fld id="{D94909C6-CC71-4962-A18E-AF0515723D95}" type="slidenum">
              <a:rPr lang="en-GB">
                <a:solidFill>
                  <a:srgbClr val="4D4E53"/>
                </a:solidFill>
                <a:latin typeface="Arial"/>
                <a:ea typeface="Arial Unicode MS"/>
                <a:cs typeface="Arial"/>
              </a:rPr>
              <a:pPr defTabSz="914354"/>
              <a:t>8</a:t>
            </a:fld>
            <a:endParaRPr lang="en-GB">
              <a:solidFill>
                <a:srgbClr val="4D4E53"/>
              </a:solidFill>
              <a:latin typeface="Arial"/>
              <a:ea typeface="Arial Unicode MS"/>
              <a:cs typeface="Arial"/>
            </a:endParaRPr>
          </a:p>
        </p:txBody>
      </p:sp>
      <p:sp>
        <p:nvSpPr>
          <p:cNvPr id="20" name="TextBox 19">
            <a:extLst>
              <a:ext uri="{FF2B5EF4-FFF2-40B4-BE49-F238E27FC236}">
                <a16:creationId xmlns:a16="http://schemas.microsoft.com/office/drawing/2014/main" id="{2017ADF1-F1C6-007E-4A3C-96C64873E535}"/>
              </a:ext>
            </a:extLst>
          </p:cNvPr>
          <p:cNvSpPr txBox="1"/>
          <p:nvPr/>
        </p:nvSpPr>
        <p:spPr>
          <a:xfrm>
            <a:off x="464425" y="2103725"/>
            <a:ext cx="2411122" cy="291555"/>
          </a:xfrm>
          <a:prstGeom prst="rect">
            <a:avLst/>
          </a:prstGeom>
          <a:noFill/>
          <a:effectLst/>
        </p:spPr>
        <p:txBody>
          <a:bodyPr wrap="square" lIns="0" tIns="0" rIns="0" bIns="0" rtlCol="0">
            <a:spAutoFit/>
          </a:bodyPr>
          <a:lstStyle/>
          <a:p>
            <a:pPr defTabSz="914377">
              <a:lnSpc>
                <a:spcPct val="110000"/>
              </a:lnSpc>
            </a:pPr>
            <a:r>
              <a:rPr lang="en-GB" sz="1867">
                <a:solidFill>
                  <a:srgbClr val="3350B8"/>
                </a:solidFill>
                <a:latin typeface="Arial"/>
                <a:ea typeface="Arial Unicode MS"/>
                <a:cs typeface="Arial"/>
              </a:rPr>
              <a:t>Problem Constraints</a:t>
            </a:r>
          </a:p>
        </p:txBody>
      </p:sp>
      <p:sp>
        <p:nvSpPr>
          <p:cNvPr id="21" name="TextBox 20">
            <a:extLst>
              <a:ext uri="{FF2B5EF4-FFF2-40B4-BE49-F238E27FC236}">
                <a16:creationId xmlns:a16="http://schemas.microsoft.com/office/drawing/2014/main" id="{68B0A32E-FEF1-0A3F-9CD2-2E543CBA67E1}"/>
              </a:ext>
            </a:extLst>
          </p:cNvPr>
          <p:cNvSpPr txBox="1"/>
          <p:nvPr/>
        </p:nvSpPr>
        <p:spPr>
          <a:xfrm>
            <a:off x="6610533" y="2098567"/>
            <a:ext cx="2504775" cy="291555"/>
          </a:xfrm>
          <a:prstGeom prst="rect">
            <a:avLst/>
          </a:prstGeom>
          <a:noFill/>
          <a:effectLst/>
        </p:spPr>
        <p:txBody>
          <a:bodyPr wrap="square" lIns="0" tIns="0" rIns="0" bIns="0" rtlCol="0">
            <a:spAutoFit/>
          </a:bodyPr>
          <a:lstStyle/>
          <a:p>
            <a:pPr defTabSz="914377">
              <a:lnSpc>
                <a:spcPct val="110000"/>
              </a:lnSpc>
            </a:pPr>
            <a:r>
              <a:rPr lang="en-GB" sz="1867" dirty="0">
                <a:solidFill>
                  <a:srgbClr val="3350B8"/>
                </a:solidFill>
                <a:latin typeface="Arial"/>
                <a:ea typeface="Arial Unicode MS"/>
                <a:cs typeface="Arial"/>
              </a:rPr>
              <a:t>Desirable Properties</a:t>
            </a:r>
          </a:p>
        </p:txBody>
      </p:sp>
      <p:sp>
        <p:nvSpPr>
          <p:cNvPr id="25" name="Freeform: Shape 24">
            <a:extLst>
              <a:ext uri="{FF2B5EF4-FFF2-40B4-BE49-F238E27FC236}">
                <a16:creationId xmlns:a16="http://schemas.microsoft.com/office/drawing/2014/main" id="{F041C6FC-E970-7C9E-D8AF-8F20575A7164}"/>
              </a:ext>
            </a:extLst>
          </p:cNvPr>
          <p:cNvSpPr/>
          <p:nvPr/>
        </p:nvSpPr>
        <p:spPr>
          <a:xfrm>
            <a:off x="5817875" y="2447924"/>
            <a:ext cx="6374128" cy="4410075"/>
          </a:xfrm>
          <a:custGeom>
            <a:avLst/>
            <a:gdLst>
              <a:gd name="connsiteX0" fmla="*/ 0 w 4780596"/>
              <a:gd name="connsiteY0" fmla="*/ 0 h 2994028"/>
              <a:gd name="connsiteX1" fmla="*/ 4780596 w 4780596"/>
              <a:gd name="connsiteY1" fmla="*/ 0 h 2994028"/>
              <a:gd name="connsiteX2" fmla="*/ 4780596 w 4780596"/>
              <a:gd name="connsiteY2" fmla="*/ 2994028 h 2994028"/>
              <a:gd name="connsiteX3" fmla="*/ 1 w 4780596"/>
              <a:gd name="connsiteY3" fmla="*/ 2994028 h 2994028"/>
              <a:gd name="connsiteX4" fmla="*/ 479374 w 4780596"/>
              <a:gd name="connsiteY4" fmla="*/ 1497015 h 2994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0596" h="2994028">
                <a:moveTo>
                  <a:pt x="0" y="0"/>
                </a:moveTo>
                <a:lnTo>
                  <a:pt x="4780596" y="0"/>
                </a:lnTo>
                <a:lnTo>
                  <a:pt x="4780596" y="2994028"/>
                </a:lnTo>
                <a:lnTo>
                  <a:pt x="1" y="2994028"/>
                </a:lnTo>
                <a:lnTo>
                  <a:pt x="479374" y="1497015"/>
                </a:lnTo>
                <a:close/>
              </a:path>
            </a:pathLst>
          </a:custGeom>
          <a:solidFill>
            <a:srgbClr val="0F1E32">
              <a:alpha val="7059"/>
            </a:srgbClr>
          </a:solidFill>
          <a:ln w="9525" cap="flat" cmpd="sng" algn="ctr">
            <a:noFill/>
            <a:prstDash val="solid"/>
            <a:miter lim="800000"/>
          </a:ln>
          <a:effectLst/>
        </p:spPr>
        <p:txBody>
          <a:bodyPr wrap="square" rtlCol="0" anchor="ctr" anchorCtr="0">
            <a:noAutofit/>
          </a:bodyPr>
          <a:lstStyle/>
          <a:p>
            <a:pPr algn="ctr" defTabSz="1219170">
              <a:defRPr/>
            </a:pPr>
            <a:endParaRPr lang="en-GB" sz="1867" kern="0">
              <a:solidFill>
                <a:prstClr val="white"/>
              </a:solidFill>
              <a:latin typeface="Arial"/>
              <a:ea typeface="Arial Unicode MS"/>
              <a:cs typeface="Arial"/>
            </a:endParaRPr>
          </a:p>
        </p:txBody>
      </p:sp>
      <p:cxnSp>
        <p:nvCxnSpPr>
          <p:cNvPr id="26" name="Straight Connector 25">
            <a:extLst>
              <a:ext uri="{FF2B5EF4-FFF2-40B4-BE49-F238E27FC236}">
                <a16:creationId xmlns:a16="http://schemas.microsoft.com/office/drawing/2014/main" id="{DF719F47-A9A9-9545-DBC8-ECBF97FCEBF1}"/>
              </a:ext>
            </a:extLst>
          </p:cNvPr>
          <p:cNvCxnSpPr>
            <a:cxnSpLocks/>
            <a:stCxn id="25" idx="0"/>
            <a:endCxn id="25" idx="1"/>
          </p:cNvCxnSpPr>
          <p:nvPr/>
        </p:nvCxnSpPr>
        <p:spPr>
          <a:xfrm>
            <a:off x="5817875" y="2447924"/>
            <a:ext cx="6374128" cy="0"/>
          </a:xfrm>
          <a:prstGeom prst="line">
            <a:avLst/>
          </a:prstGeom>
          <a:noFill/>
          <a:ln w="12700" cap="rnd" cmpd="sng" algn="ctr">
            <a:solidFill>
              <a:srgbClr val="3350B8"/>
            </a:solidFill>
            <a:prstDash val="solid"/>
            <a:round/>
          </a:ln>
          <a:effectLst/>
        </p:spPr>
      </p:cxnSp>
      <p:sp>
        <p:nvSpPr>
          <p:cNvPr id="27" name="Arrow: Pentagon 26">
            <a:extLst>
              <a:ext uri="{FF2B5EF4-FFF2-40B4-BE49-F238E27FC236}">
                <a16:creationId xmlns:a16="http://schemas.microsoft.com/office/drawing/2014/main" id="{63DE510D-C36D-6B50-AF80-16C3E0296A9B}"/>
              </a:ext>
            </a:extLst>
          </p:cNvPr>
          <p:cNvSpPr/>
          <p:nvPr/>
        </p:nvSpPr>
        <p:spPr>
          <a:xfrm>
            <a:off x="0" y="1970248"/>
            <a:ext cx="6289040" cy="4887753"/>
          </a:xfrm>
          <a:prstGeom prst="homePlate">
            <a:avLst>
              <a:gd name="adj" fmla="val 13088"/>
            </a:avLst>
          </a:prstGeom>
          <a:noFill/>
          <a:ln w="12700" cap="flat" cmpd="sng" algn="ctr">
            <a:noFill/>
            <a:prstDash val="solid"/>
            <a:miter lim="800000"/>
          </a:ln>
          <a:effectLst/>
        </p:spPr>
        <p:txBody>
          <a:bodyPr rtlCol="0" anchor="ctr" anchorCtr="0"/>
          <a:lstStyle/>
          <a:p>
            <a:pPr algn="ctr" defTabSz="1219170">
              <a:defRPr/>
            </a:pPr>
            <a:endParaRPr lang="en-GB" sz="1867" kern="0">
              <a:solidFill>
                <a:prstClr val="white"/>
              </a:solidFill>
              <a:latin typeface="Arial"/>
              <a:ea typeface="Arial Unicode MS"/>
              <a:cs typeface="Arial"/>
            </a:endParaRPr>
          </a:p>
        </p:txBody>
      </p:sp>
      <p:sp>
        <p:nvSpPr>
          <p:cNvPr id="28" name="Arrow: Pentagon 99">
            <a:extLst>
              <a:ext uri="{FF2B5EF4-FFF2-40B4-BE49-F238E27FC236}">
                <a16:creationId xmlns:a16="http://schemas.microsoft.com/office/drawing/2014/main" id="{4C8854C7-4C98-319C-A0A9-5CE1A5E978C6}"/>
              </a:ext>
            </a:extLst>
          </p:cNvPr>
          <p:cNvSpPr/>
          <p:nvPr/>
        </p:nvSpPr>
        <p:spPr>
          <a:xfrm>
            <a:off x="0" y="2447925"/>
            <a:ext cx="6374128" cy="4410075"/>
          </a:xfrm>
          <a:custGeom>
            <a:avLst/>
            <a:gdLst>
              <a:gd name="connsiteX0" fmla="*/ 0 w 4716780"/>
              <a:gd name="connsiteY0" fmla="*/ 0 h 2994029"/>
              <a:gd name="connsiteX1" fmla="*/ 4237406 w 4716780"/>
              <a:gd name="connsiteY1" fmla="*/ 0 h 2994029"/>
              <a:gd name="connsiteX2" fmla="*/ 4716780 w 4716780"/>
              <a:gd name="connsiteY2" fmla="*/ 1497015 h 2994029"/>
              <a:gd name="connsiteX3" fmla="*/ 4237406 w 4716780"/>
              <a:gd name="connsiteY3" fmla="*/ 2994029 h 2994029"/>
              <a:gd name="connsiteX4" fmla="*/ 0 w 4716780"/>
              <a:gd name="connsiteY4" fmla="*/ 2994029 h 2994029"/>
              <a:gd name="connsiteX5" fmla="*/ 0 w 4716780"/>
              <a:gd name="connsiteY5" fmla="*/ 0 h 2994029"/>
              <a:gd name="connsiteX0" fmla="*/ 0 w 4716780"/>
              <a:gd name="connsiteY0" fmla="*/ 2994029 h 3085469"/>
              <a:gd name="connsiteX1" fmla="*/ 0 w 4716780"/>
              <a:gd name="connsiteY1" fmla="*/ 0 h 3085469"/>
              <a:gd name="connsiteX2" fmla="*/ 4237406 w 4716780"/>
              <a:gd name="connsiteY2" fmla="*/ 0 h 3085469"/>
              <a:gd name="connsiteX3" fmla="*/ 4716780 w 4716780"/>
              <a:gd name="connsiteY3" fmla="*/ 1497015 h 3085469"/>
              <a:gd name="connsiteX4" fmla="*/ 4237406 w 4716780"/>
              <a:gd name="connsiteY4" fmla="*/ 2994029 h 3085469"/>
              <a:gd name="connsiteX5" fmla="*/ 91440 w 4716780"/>
              <a:gd name="connsiteY5" fmla="*/ 3085469 h 3085469"/>
              <a:gd name="connsiteX0" fmla="*/ 0 w 4716780"/>
              <a:gd name="connsiteY0" fmla="*/ 2994029 h 2994029"/>
              <a:gd name="connsiteX1" fmla="*/ 0 w 4716780"/>
              <a:gd name="connsiteY1" fmla="*/ 0 h 2994029"/>
              <a:gd name="connsiteX2" fmla="*/ 4237406 w 4716780"/>
              <a:gd name="connsiteY2" fmla="*/ 0 h 2994029"/>
              <a:gd name="connsiteX3" fmla="*/ 4716780 w 4716780"/>
              <a:gd name="connsiteY3" fmla="*/ 1497015 h 2994029"/>
              <a:gd name="connsiteX4" fmla="*/ 4237406 w 4716780"/>
              <a:gd name="connsiteY4" fmla="*/ 2994029 h 2994029"/>
              <a:gd name="connsiteX0" fmla="*/ 0 w 4716780"/>
              <a:gd name="connsiteY0" fmla="*/ 0 h 2994029"/>
              <a:gd name="connsiteX1" fmla="*/ 4237406 w 4716780"/>
              <a:gd name="connsiteY1" fmla="*/ 0 h 2994029"/>
              <a:gd name="connsiteX2" fmla="*/ 4716780 w 4716780"/>
              <a:gd name="connsiteY2" fmla="*/ 1497015 h 2994029"/>
              <a:gd name="connsiteX3" fmla="*/ 4237406 w 4716780"/>
              <a:gd name="connsiteY3" fmla="*/ 2994029 h 2994029"/>
            </a:gdLst>
            <a:ahLst/>
            <a:cxnLst>
              <a:cxn ang="0">
                <a:pos x="connsiteX0" y="connsiteY0"/>
              </a:cxn>
              <a:cxn ang="0">
                <a:pos x="connsiteX1" y="connsiteY1"/>
              </a:cxn>
              <a:cxn ang="0">
                <a:pos x="connsiteX2" y="connsiteY2"/>
              </a:cxn>
              <a:cxn ang="0">
                <a:pos x="connsiteX3" y="connsiteY3"/>
              </a:cxn>
            </a:cxnLst>
            <a:rect l="l" t="t" r="r" b="b"/>
            <a:pathLst>
              <a:path w="4716780" h="2994029">
                <a:moveTo>
                  <a:pt x="0" y="0"/>
                </a:moveTo>
                <a:lnTo>
                  <a:pt x="4237406" y="0"/>
                </a:lnTo>
                <a:lnTo>
                  <a:pt x="4716780" y="1497015"/>
                </a:lnTo>
                <a:lnTo>
                  <a:pt x="4237406" y="2994029"/>
                </a:lnTo>
              </a:path>
            </a:pathLst>
          </a:custGeom>
          <a:noFill/>
          <a:ln w="12700" cap="flat" cmpd="sng" algn="ctr">
            <a:solidFill>
              <a:srgbClr val="3350B8"/>
            </a:solidFill>
            <a:prstDash val="solid"/>
            <a:miter lim="800000"/>
          </a:ln>
          <a:effectLst/>
        </p:spPr>
        <p:txBody>
          <a:bodyPr rtlCol="0" anchor="ctr" anchorCtr="0"/>
          <a:lstStyle/>
          <a:p>
            <a:pPr algn="ctr" defTabSz="1219170">
              <a:defRPr/>
            </a:pPr>
            <a:endParaRPr lang="en-GB" sz="1867" kern="0">
              <a:solidFill>
                <a:prstClr val="white"/>
              </a:solidFill>
              <a:latin typeface="Arial"/>
              <a:ea typeface="Arial Unicode MS"/>
              <a:cs typeface="Arial"/>
            </a:endParaRPr>
          </a:p>
        </p:txBody>
      </p:sp>
      <p:sp>
        <p:nvSpPr>
          <p:cNvPr id="30" name="TextBox 29">
            <a:extLst>
              <a:ext uri="{FF2B5EF4-FFF2-40B4-BE49-F238E27FC236}">
                <a16:creationId xmlns:a16="http://schemas.microsoft.com/office/drawing/2014/main" id="{2CE9D53E-D041-D38E-E42B-C713E8EC7311}"/>
              </a:ext>
            </a:extLst>
          </p:cNvPr>
          <p:cNvSpPr txBox="1"/>
          <p:nvPr/>
        </p:nvSpPr>
        <p:spPr>
          <a:xfrm>
            <a:off x="6541976" y="2760431"/>
            <a:ext cx="5314025" cy="2811026"/>
          </a:xfrm>
          <a:prstGeom prst="rect">
            <a:avLst/>
          </a:prstGeom>
          <a:noFill/>
          <a:effectLst/>
        </p:spPr>
        <p:txBody>
          <a:bodyPr wrap="square">
            <a:spAutoFit/>
          </a:bodyPr>
          <a:lstStyle/>
          <a:p>
            <a:pPr defTabSz="359991">
              <a:lnSpc>
                <a:spcPct val="110000"/>
              </a:lnSpc>
              <a:buClr>
                <a:srgbClr val="0066FF">
                  <a:lumMod val="75000"/>
                </a:srgbClr>
              </a:buClr>
              <a:defRPr/>
            </a:pPr>
            <a:r>
              <a:rPr lang="en-US" kern="0" dirty="0">
                <a:solidFill>
                  <a:srgbClr val="0F1E32"/>
                </a:solidFill>
                <a:latin typeface="Arial"/>
                <a:ea typeface="Arial Unicode MS"/>
                <a:cs typeface="Arial"/>
              </a:rPr>
              <a:t>δ = Estimated – True Failure Probability </a:t>
            </a:r>
          </a:p>
          <a:p>
            <a:pPr marL="304792" indent="-304792" defTabSz="359991">
              <a:lnSpc>
                <a:spcPct val="110000"/>
              </a:lnSpc>
              <a:buClr>
                <a:srgbClr val="0066FF">
                  <a:lumMod val="75000"/>
                </a:srgbClr>
              </a:buClr>
              <a:buFont typeface="+mj-lt"/>
              <a:buAutoNum type="arabicPeriod"/>
              <a:defRPr/>
            </a:pPr>
            <a:endParaRPr lang="en-US" kern="0" dirty="0">
              <a:solidFill>
                <a:srgbClr val="0F1E32"/>
              </a:solidFill>
              <a:latin typeface="Arial"/>
              <a:ea typeface="Arial Unicode MS"/>
              <a:cs typeface="Arial"/>
            </a:endParaRPr>
          </a:p>
          <a:p>
            <a:pPr marL="304792" indent="-304792" defTabSz="359991">
              <a:lnSpc>
                <a:spcPct val="110000"/>
              </a:lnSpc>
              <a:buClr>
                <a:srgbClr val="0066FF">
                  <a:lumMod val="75000"/>
                </a:srgbClr>
              </a:buClr>
              <a:buFont typeface="Arial" panose="020B0604020202020204" pitchFamily="34" charset="0"/>
              <a:buChar char="•"/>
              <a:defRPr/>
            </a:pPr>
            <a:r>
              <a:rPr lang="en-US" kern="0" dirty="0">
                <a:solidFill>
                  <a:srgbClr val="0F1E32"/>
                </a:solidFill>
                <a:latin typeface="Arial"/>
                <a:ea typeface="Arial Unicode MS"/>
                <a:cs typeface="Arial"/>
              </a:rPr>
              <a:t>Conservativeness:</a:t>
            </a:r>
          </a:p>
          <a:p>
            <a:pPr defTabSz="359991">
              <a:lnSpc>
                <a:spcPct val="110000"/>
              </a:lnSpc>
              <a:buClr>
                <a:srgbClr val="0066FF">
                  <a:lumMod val="75000"/>
                </a:srgbClr>
              </a:buClr>
              <a:defRPr/>
            </a:pPr>
            <a:r>
              <a:rPr lang="en-US" kern="0" dirty="0">
                <a:solidFill>
                  <a:srgbClr val="0F1E32"/>
                </a:solidFill>
                <a:latin typeface="Arial"/>
                <a:ea typeface="Arial Unicode MS"/>
                <a:cs typeface="Arial"/>
              </a:rPr>
              <a:t>	Don’t under-estimate the failure probability </a:t>
            </a:r>
          </a:p>
          <a:p>
            <a:pPr defTabSz="359991">
              <a:lnSpc>
                <a:spcPct val="110000"/>
              </a:lnSpc>
              <a:buClr>
                <a:srgbClr val="0066FF">
                  <a:lumMod val="75000"/>
                </a:srgbClr>
              </a:buClr>
              <a:defRPr/>
            </a:pPr>
            <a:r>
              <a:rPr lang="en-US" kern="0" dirty="0">
                <a:solidFill>
                  <a:srgbClr val="0F1E32"/>
                </a:solidFill>
                <a:latin typeface="Arial"/>
                <a:ea typeface="Arial Unicode MS"/>
                <a:cs typeface="Arial"/>
              </a:rPr>
              <a:t>	(δ  &gt;  0)</a:t>
            </a:r>
          </a:p>
          <a:p>
            <a:pPr marL="285750" indent="-285750" defTabSz="359991">
              <a:lnSpc>
                <a:spcPct val="110000"/>
              </a:lnSpc>
              <a:buClr>
                <a:srgbClr val="0066FF">
                  <a:lumMod val="75000"/>
                </a:srgbClr>
              </a:buClr>
              <a:buFont typeface="Arial" panose="020B0604020202020204" pitchFamily="34" charset="0"/>
              <a:buChar char="•"/>
              <a:defRPr/>
            </a:pPr>
            <a:endParaRPr lang="en-US" kern="0" dirty="0">
              <a:solidFill>
                <a:srgbClr val="0F1E32"/>
              </a:solidFill>
              <a:latin typeface="Arial"/>
              <a:ea typeface="Arial Unicode MS"/>
              <a:cs typeface="Arial"/>
            </a:endParaRPr>
          </a:p>
          <a:p>
            <a:pPr marL="304792" indent="-304792" defTabSz="359991">
              <a:lnSpc>
                <a:spcPct val="110000"/>
              </a:lnSpc>
              <a:buClr>
                <a:srgbClr val="0066FF">
                  <a:lumMod val="75000"/>
                </a:srgbClr>
              </a:buClr>
              <a:buFont typeface="Arial" panose="020B0604020202020204" pitchFamily="34" charset="0"/>
              <a:buChar char="•"/>
              <a:defRPr/>
            </a:pPr>
            <a:r>
              <a:rPr lang="en-US" kern="0" dirty="0">
                <a:solidFill>
                  <a:srgbClr val="0F1E32"/>
                </a:solidFill>
                <a:latin typeface="Arial"/>
                <a:ea typeface="Arial Unicode MS"/>
                <a:cs typeface="Arial"/>
              </a:rPr>
              <a:t>Accuracy:</a:t>
            </a:r>
          </a:p>
          <a:p>
            <a:pPr defTabSz="359991">
              <a:lnSpc>
                <a:spcPct val="110000"/>
              </a:lnSpc>
              <a:buClr>
                <a:srgbClr val="0066FF">
                  <a:lumMod val="75000"/>
                </a:srgbClr>
              </a:buClr>
              <a:defRPr/>
            </a:pPr>
            <a:r>
              <a:rPr lang="en-US" kern="0" dirty="0">
                <a:solidFill>
                  <a:srgbClr val="0F1E32"/>
                </a:solidFill>
                <a:latin typeface="Arial"/>
                <a:ea typeface="Arial Unicode MS"/>
                <a:cs typeface="Arial"/>
              </a:rPr>
              <a:t>	Estimate the failure probability as      	accurately as possible (Small |δ|)</a:t>
            </a:r>
          </a:p>
        </p:txBody>
      </p:sp>
      <mc:AlternateContent xmlns:mc="http://schemas.openxmlformats.org/markup-compatibility/2006">
        <mc:Choice xmlns:a14="http://schemas.microsoft.com/office/drawing/2010/main" Requires="a14">
          <p:sp>
            <p:nvSpPr>
              <p:cNvPr id="31" name="TextBox 30">
                <a:extLst>
                  <a:ext uri="{FF2B5EF4-FFF2-40B4-BE49-F238E27FC236}">
                    <a16:creationId xmlns:a16="http://schemas.microsoft.com/office/drawing/2014/main" id="{BF5D8D0A-F461-5309-359E-77D06C81D7BA}"/>
                  </a:ext>
                </a:extLst>
              </p:cNvPr>
              <p:cNvSpPr txBox="1"/>
              <p:nvPr/>
            </p:nvSpPr>
            <p:spPr>
              <a:xfrm>
                <a:off x="335998" y="2821986"/>
                <a:ext cx="5760001" cy="1942135"/>
              </a:xfrm>
              <a:prstGeom prst="rect">
                <a:avLst/>
              </a:prstGeom>
              <a:noFill/>
              <a:effectLst/>
            </p:spPr>
            <p:txBody>
              <a:bodyPr wrap="square">
                <a:spAutoFit/>
              </a:bodyPr>
              <a:lstStyle/>
              <a:p>
                <a:pPr marL="304792" indent="-304792" defTabSz="359991">
                  <a:spcAft>
                    <a:spcPts val="800"/>
                  </a:spcAft>
                  <a:buClr>
                    <a:srgbClr val="3350B8"/>
                  </a:buClr>
                  <a:buFont typeface="Arial" panose="020B0604020202020204" pitchFamily="34" charset="0"/>
                  <a:buChar char="•"/>
                  <a:defRPr/>
                </a:pPr>
                <a:r>
                  <a:rPr lang="en-US" kern="0" dirty="0">
                    <a:solidFill>
                      <a:srgbClr val="0F1E32"/>
                    </a:solidFill>
                    <a:latin typeface="Arial"/>
                    <a:ea typeface="Arial Unicode MS"/>
                    <a:cs typeface="Arial"/>
                  </a:rPr>
                  <a:t>Label collection infrequent</a:t>
                </a:r>
              </a:p>
              <a:p>
                <a:pPr marL="304792" indent="-304792" defTabSz="359991">
                  <a:spcAft>
                    <a:spcPts val="800"/>
                  </a:spcAft>
                  <a:buClr>
                    <a:srgbClr val="3350B8"/>
                  </a:buClr>
                  <a:buFont typeface="Arial" panose="020B0604020202020204" pitchFamily="34" charset="0"/>
                  <a:buChar char="•"/>
                  <a:defRPr/>
                </a:pPr>
                <a:r>
                  <a:rPr lang="en-US" kern="0" dirty="0">
                    <a:solidFill>
                      <a:srgbClr val="0F1E32"/>
                    </a:solidFill>
                    <a:latin typeface="Arial"/>
                    <a:ea typeface="Arial Unicode MS"/>
                    <a:cs typeface="Arial"/>
                  </a:rPr>
                  <a:t>Access to a (relatively) small hold out set</a:t>
                </a:r>
                <a14:m>
                  <m:oMath xmlns:m="http://schemas.openxmlformats.org/officeDocument/2006/math">
                    <m:r>
                      <a:rPr kumimoji="0" lang="en-GB" sz="2000" b="0" i="0" u="none" strike="noStrike" kern="1200" cap="none" spc="0" normalizeH="0" baseline="0" noProof="0" smtClean="0">
                        <a:ln>
                          <a:noFill/>
                        </a:ln>
                        <a:solidFill>
                          <a:srgbClr val="4D4E53"/>
                        </a:solidFill>
                        <a:effectLst/>
                        <a:uLnTx/>
                        <a:uFillTx/>
                        <a:latin typeface="Cambria Math" panose="02040503050406030204" pitchFamily="18" charset="0"/>
                        <a:ea typeface="Cambria Math" panose="02040503050406030204" pitchFamily="18" charset="0"/>
                      </a:rPr>
                      <m:t> </m:t>
                    </m:r>
                    <m:d>
                      <m:dPr>
                        <m:begChr m:val="{"/>
                        <m:endChr m:val="}"/>
                        <m:ctrlPr>
                          <a:rPr kumimoji="0" lang="en-US" sz="2000" b="0" i="1" u="none" strike="noStrike" kern="1200" cap="none" spc="0" normalizeH="0" baseline="0" noProof="0" smtClean="0">
                            <a:ln>
                              <a:noFill/>
                            </a:ln>
                            <a:solidFill>
                              <a:srgbClr val="4D4E53"/>
                            </a:solidFill>
                            <a:effectLst/>
                            <a:uLnTx/>
                            <a:uFillTx/>
                            <a:latin typeface="Cambria Math" panose="02040503050406030204" pitchFamily="18" charset="0"/>
                            <a:ea typeface="Cambria Math" panose="02040503050406030204" pitchFamily="18" charset="0"/>
                          </a:rPr>
                        </m:ctrlPr>
                      </m:dPr>
                      <m:e>
                        <m:d>
                          <m:dPr>
                            <m:ctrlPr>
                              <a:rPr lang="en-GB" sz="2000" i="1">
                                <a:solidFill>
                                  <a:schemeClr val="tx2"/>
                                </a:solidFill>
                                <a:latin typeface="Cambria Math" panose="02040503050406030204" pitchFamily="18" charset="0"/>
                              </a:rPr>
                            </m:ctrlPr>
                          </m:dPr>
                          <m:e>
                            <m:sSub>
                              <m:sSubPr>
                                <m:ctrlPr>
                                  <a:rPr lang="en-GB" sz="2000" i="1">
                                    <a:solidFill>
                                      <a:schemeClr val="tx2"/>
                                    </a:solidFill>
                                    <a:latin typeface="Cambria Math" panose="02040503050406030204" pitchFamily="18" charset="0"/>
                                  </a:rPr>
                                </m:ctrlPr>
                              </m:sSubPr>
                              <m:e>
                                <m:r>
                                  <a:rPr lang="en-GB" sz="2000" i="1">
                                    <a:solidFill>
                                      <a:schemeClr val="tx2"/>
                                    </a:solidFill>
                                    <a:latin typeface="Cambria Math" panose="02040503050406030204" pitchFamily="18" charset="0"/>
                                  </a:rPr>
                                  <m:t>𝑋</m:t>
                                </m:r>
                              </m:e>
                              <m:sub>
                                <m:r>
                                  <a:rPr lang="en-GB" sz="2000" i="1">
                                    <a:solidFill>
                                      <a:schemeClr val="tx2"/>
                                    </a:solidFill>
                                    <a:latin typeface="Cambria Math" panose="02040503050406030204" pitchFamily="18" charset="0"/>
                                  </a:rPr>
                                  <m:t>𝑖</m:t>
                                </m:r>
                              </m:sub>
                            </m:sSub>
                            <m:r>
                              <a:rPr lang="en-GB" sz="2000" i="1">
                                <a:solidFill>
                                  <a:schemeClr val="tx2"/>
                                </a:solidFill>
                                <a:latin typeface="Cambria Math" panose="02040503050406030204" pitchFamily="18" charset="0"/>
                              </a:rPr>
                              <m:t>,</m:t>
                            </m:r>
                            <m:sSub>
                              <m:sSubPr>
                                <m:ctrlPr>
                                  <a:rPr lang="en-GB" sz="2000" i="1">
                                    <a:solidFill>
                                      <a:schemeClr val="tx2"/>
                                    </a:solidFill>
                                    <a:latin typeface="Cambria Math" panose="02040503050406030204" pitchFamily="18" charset="0"/>
                                  </a:rPr>
                                </m:ctrlPr>
                              </m:sSubPr>
                              <m:e>
                                <m:r>
                                  <a:rPr lang="en-GB" sz="2000" i="1">
                                    <a:solidFill>
                                      <a:schemeClr val="tx2"/>
                                    </a:solidFill>
                                    <a:latin typeface="Cambria Math" panose="02040503050406030204" pitchFamily="18" charset="0"/>
                                  </a:rPr>
                                  <m:t>𝑌</m:t>
                                </m:r>
                              </m:e>
                              <m:sub>
                                <m:r>
                                  <a:rPr lang="en-GB" sz="2000" i="1">
                                    <a:solidFill>
                                      <a:schemeClr val="tx2"/>
                                    </a:solidFill>
                                    <a:latin typeface="Cambria Math" panose="02040503050406030204" pitchFamily="18" charset="0"/>
                                  </a:rPr>
                                  <m:t>𝑖</m:t>
                                </m:r>
                              </m:sub>
                            </m:sSub>
                          </m:e>
                        </m:d>
                      </m:e>
                    </m:d>
                    <m:r>
                      <a:rPr kumimoji="0" lang="en-US" sz="2000" b="0" i="1" u="none" strike="noStrike" kern="1200" cap="none" spc="0" normalizeH="0" baseline="-25000" noProof="0" smtClean="0">
                        <a:ln>
                          <a:noFill/>
                        </a:ln>
                        <a:solidFill>
                          <a:srgbClr val="4D4E53"/>
                        </a:solidFill>
                        <a:effectLst/>
                        <a:uLnTx/>
                        <a:uFillTx/>
                        <a:latin typeface="Cambria Math" panose="02040503050406030204" pitchFamily="18" charset="0"/>
                        <a:ea typeface="Cambria Math" panose="02040503050406030204" pitchFamily="18" charset="0"/>
                      </a:rPr>
                      <m:t>𝑖</m:t>
                    </m:r>
                  </m:oMath>
                </a14:m>
                <a:endParaRPr kumimoji="0" lang="en-GB" sz="2000" b="0" u="none" strike="noStrike" kern="1200" cap="none" spc="0" normalizeH="0" baseline="-25000" noProof="0" dirty="0">
                  <a:ln>
                    <a:noFill/>
                  </a:ln>
                  <a:solidFill>
                    <a:srgbClr val="4D4E53"/>
                  </a:solidFill>
                  <a:effectLst/>
                  <a:uLnTx/>
                  <a:uFillTx/>
                  <a:latin typeface="Arial"/>
                  <a:ea typeface="Cambria Math" panose="02040503050406030204" pitchFamily="18" charset="0"/>
                </a:endParaRPr>
              </a:p>
              <a:p>
                <a:pPr marL="304792" indent="-304792" defTabSz="359991">
                  <a:spcAft>
                    <a:spcPts val="800"/>
                  </a:spcAft>
                  <a:buClr>
                    <a:srgbClr val="3350B8"/>
                  </a:buClr>
                  <a:buFont typeface="Arial" panose="020B0604020202020204" pitchFamily="34" charset="0"/>
                  <a:buChar char="•"/>
                  <a:defRPr/>
                </a:pPr>
                <a:r>
                  <a:rPr lang="en-US" kern="0" dirty="0">
                    <a:solidFill>
                      <a:srgbClr val="0F1E32"/>
                    </a:solidFill>
                    <a:latin typeface="Arial"/>
                    <a:ea typeface="Arial Unicode MS"/>
                    <a:cs typeface="Arial"/>
                  </a:rPr>
                  <a:t>Access to a large test set (no labels) </a:t>
                </a:r>
                <a14:m>
                  <m:oMath xmlns:m="http://schemas.openxmlformats.org/officeDocument/2006/math">
                    <m:d>
                      <m:dPr>
                        <m:begChr m:val="{"/>
                        <m:endChr m:val="}"/>
                        <m:ctrlPr>
                          <a:rPr kumimoji="0" lang="en-US" sz="2000" b="0" i="1" u="none" strike="noStrike" kern="1200" cap="none" spc="0" normalizeH="0" baseline="0" noProof="0" smtClean="0">
                            <a:ln>
                              <a:noFill/>
                            </a:ln>
                            <a:solidFill>
                              <a:srgbClr val="4D4E53"/>
                            </a:solidFill>
                            <a:effectLst/>
                            <a:uLnTx/>
                            <a:uFillTx/>
                            <a:latin typeface="Cambria Math" panose="02040503050406030204" pitchFamily="18" charset="0"/>
                            <a:ea typeface="Cambria Math" panose="02040503050406030204" pitchFamily="18" charset="0"/>
                          </a:rPr>
                        </m:ctrlPr>
                      </m:dPr>
                      <m:e>
                        <m:r>
                          <a:rPr kumimoji="0" lang="en-US" sz="2000" b="0" i="1" u="none" strike="noStrike" kern="1200" cap="none" spc="0" normalizeH="0" baseline="0" noProof="0" smtClean="0">
                            <a:ln>
                              <a:noFill/>
                            </a:ln>
                            <a:solidFill>
                              <a:srgbClr val="4D4E53"/>
                            </a:solidFill>
                            <a:effectLst/>
                            <a:uLnTx/>
                            <a:uFillTx/>
                            <a:latin typeface="Cambria Math" panose="02040503050406030204" pitchFamily="18" charset="0"/>
                            <a:ea typeface="Cambria Math" panose="02040503050406030204" pitchFamily="18" charset="0"/>
                          </a:rPr>
                          <m:t>𝑋</m:t>
                        </m:r>
                        <m:r>
                          <a:rPr kumimoji="0" lang="en-US" sz="2000" b="0" i="1" u="none" strike="noStrike" kern="1200" cap="none" spc="0" normalizeH="0" baseline="-25000" noProof="0" smtClean="0">
                            <a:ln>
                              <a:noFill/>
                            </a:ln>
                            <a:solidFill>
                              <a:srgbClr val="4D4E53"/>
                            </a:solidFill>
                            <a:effectLst/>
                            <a:uLnTx/>
                            <a:uFillTx/>
                            <a:latin typeface="Cambria Math" panose="02040503050406030204" pitchFamily="18" charset="0"/>
                            <a:ea typeface="Cambria Math" panose="02040503050406030204" pitchFamily="18" charset="0"/>
                          </a:rPr>
                          <m:t>𝑖</m:t>
                        </m:r>
                      </m:e>
                    </m:d>
                    <m:r>
                      <a:rPr kumimoji="0" lang="en-US" sz="2000" b="0" i="1" u="none" strike="noStrike" kern="1200" cap="none" spc="0" normalizeH="0" baseline="-25000" noProof="0" smtClean="0">
                        <a:ln>
                          <a:noFill/>
                        </a:ln>
                        <a:solidFill>
                          <a:srgbClr val="4D4E53"/>
                        </a:solidFill>
                        <a:effectLst/>
                        <a:uLnTx/>
                        <a:uFillTx/>
                        <a:latin typeface="Cambria Math" panose="02040503050406030204" pitchFamily="18" charset="0"/>
                        <a:ea typeface="Cambria Math" panose="02040503050406030204" pitchFamily="18" charset="0"/>
                      </a:rPr>
                      <m:t>𝑖</m:t>
                    </m:r>
                  </m:oMath>
                </a14:m>
                <a:endParaRPr lang="en-US" kern="0" dirty="0">
                  <a:solidFill>
                    <a:srgbClr val="0F1E32"/>
                  </a:solidFill>
                  <a:latin typeface="Arial"/>
                  <a:ea typeface="Arial Unicode MS"/>
                  <a:cs typeface="Arial"/>
                </a:endParaRPr>
              </a:p>
              <a:p>
                <a:pPr marL="304792" indent="-304792" defTabSz="359991">
                  <a:spcAft>
                    <a:spcPts val="800"/>
                  </a:spcAft>
                  <a:buClr>
                    <a:srgbClr val="3350B8"/>
                  </a:buClr>
                  <a:buFont typeface="Arial" panose="020B0604020202020204" pitchFamily="34" charset="0"/>
                  <a:buChar char="•"/>
                  <a:defRPr/>
                </a:pPr>
                <a:r>
                  <a:rPr lang="en-US" kern="0" dirty="0">
                    <a:solidFill>
                      <a:srgbClr val="0F1E32"/>
                    </a:solidFill>
                    <a:latin typeface="Arial"/>
                    <a:ea typeface="Arial Unicode MS"/>
                    <a:cs typeface="Arial"/>
                  </a:rPr>
                  <a:t>No control over model architecture and error</a:t>
                </a:r>
              </a:p>
              <a:p>
                <a:pPr marL="304792" indent="-304792" defTabSz="359991">
                  <a:spcAft>
                    <a:spcPts val="800"/>
                  </a:spcAft>
                  <a:buClr>
                    <a:srgbClr val="3350B8"/>
                  </a:buClr>
                  <a:buFont typeface="Arial" panose="020B0604020202020204" pitchFamily="34" charset="0"/>
                  <a:buChar char="•"/>
                  <a:defRPr/>
                </a:pPr>
                <a:r>
                  <a:rPr lang="en-US" kern="0" dirty="0">
                    <a:solidFill>
                      <a:srgbClr val="0F1E32"/>
                    </a:solidFill>
                    <a:latin typeface="Arial"/>
                    <a:ea typeface="Arial Unicode MS"/>
                    <a:cs typeface="Arial"/>
                  </a:rPr>
                  <a:t>Error tolerance pre-defined</a:t>
                </a:r>
              </a:p>
            </p:txBody>
          </p:sp>
        </mc:Choice>
        <mc:Fallback>
          <p:sp>
            <p:nvSpPr>
              <p:cNvPr id="31" name="TextBox 30">
                <a:extLst>
                  <a:ext uri="{FF2B5EF4-FFF2-40B4-BE49-F238E27FC236}">
                    <a16:creationId xmlns:a16="http://schemas.microsoft.com/office/drawing/2014/main" id="{BF5D8D0A-F461-5309-359E-77D06C81D7BA}"/>
                  </a:ext>
                </a:extLst>
              </p:cNvPr>
              <p:cNvSpPr txBox="1">
                <a:spLocks noRot="1" noChangeAspect="1" noMove="1" noResize="1" noEditPoints="1" noAdjustHandles="1" noChangeArrowheads="1" noChangeShapeType="1" noTextEdit="1"/>
              </p:cNvSpPr>
              <p:nvPr/>
            </p:nvSpPr>
            <p:spPr>
              <a:xfrm>
                <a:off x="335998" y="2821986"/>
                <a:ext cx="5760001" cy="1942135"/>
              </a:xfrm>
              <a:prstGeom prst="rect">
                <a:avLst/>
              </a:prstGeom>
              <a:blipFill>
                <a:blip r:embed="rId6"/>
                <a:stretch>
                  <a:fillRect l="-635" t="-1881" b="-4075"/>
                </a:stretch>
              </a:blipFill>
              <a:effectLst/>
            </p:spPr>
            <p:txBody>
              <a:bodyPr/>
              <a:lstStyle/>
              <a:p>
                <a:r>
                  <a:rPr lang="en-GB">
                    <a:noFill/>
                  </a:rPr>
                  <a:t> </a:t>
                </a:r>
              </a:p>
            </p:txBody>
          </p:sp>
        </mc:Fallback>
      </mc:AlternateContent>
      <p:grpSp>
        <p:nvGrpSpPr>
          <p:cNvPr id="34" name="Group 33">
            <a:extLst>
              <a:ext uri="{FF2B5EF4-FFF2-40B4-BE49-F238E27FC236}">
                <a16:creationId xmlns:a16="http://schemas.microsoft.com/office/drawing/2014/main" id="{6596DCD0-F107-2D09-C67D-21A4B87EAB4C}"/>
              </a:ext>
            </a:extLst>
          </p:cNvPr>
          <p:cNvGrpSpPr/>
          <p:nvPr/>
        </p:nvGrpSpPr>
        <p:grpSpPr>
          <a:xfrm>
            <a:off x="408002" y="1439333"/>
            <a:ext cx="497103" cy="640000"/>
            <a:chOff x="306001" y="1079500"/>
            <a:chExt cx="372827" cy="480000"/>
          </a:xfrm>
        </p:grpSpPr>
        <p:sp>
          <p:nvSpPr>
            <p:cNvPr id="35" name="Freeform: Shape 603">
              <a:extLst>
                <a:ext uri="{FF2B5EF4-FFF2-40B4-BE49-F238E27FC236}">
                  <a16:creationId xmlns:a16="http://schemas.microsoft.com/office/drawing/2014/main" id="{C6C2D488-DDEA-1943-F631-C2C40CB7EA66}"/>
                </a:ext>
              </a:extLst>
            </p:cNvPr>
            <p:cNvSpPr/>
            <p:nvPr/>
          </p:nvSpPr>
          <p:spPr>
            <a:xfrm>
              <a:off x="410777" y="1480380"/>
              <a:ext cx="167129" cy="53946"/>
            </a:xfrm>
            <a:custGeom>
              <a:avLst/>
              <a:gdLst>
                <a:gd name="connsiteX0" fmla="*/ 86348 w 172034"/>
                <a:gd name="connsiteY0" fmla="*/ 54716 h 59550"/>
                <a:gd name="connsiteX1" fmla="*/ 4963 w 172034"/>
                <a:gd name="connsiteY1" fmla="*/ 28249 h 59550"/>
                <a:gd name="connsiteX2" fmla="*/ 32091 w 172034"/>
                <a:gd name="connsiteY2" fmla="*/ 7737 h 59550"/>
                <a:gd name="connsiteX3" fmla="*/ 38046 w 172034"/>
                <a:gd name="connsiteY3" fmla="*/ 11046 h 59550"/>
                <a:gd name="connsiteX4" fmla="*/ 34738 w 172034"/>
                <a:gd name="connsiteY4" fmla="*/ 17001 h 59550"/>
                <a:gd name="connsiteX5" fmla="*/ 14888 w 172034"/>
                <a:gd name="connsiteY5" fmla="*/ 28249 h 59550"/>
                <a:gd name="connsiteX6" fmla="*/ 86348 w 172034"/>
                <a:gd name="connsiteY6" fmla="*/ 44791 h 59550"/>
                <a:gd name="connsiteX7" fmla="*/ 157808 w 172034"/>
                <a:gd name="connsiteY7" fmla="*/ 28249 h 59550"/>
                <a:gd name="connsiteX8" fmla="*/ 128695 w 172034"/>
                <a:gd name="connsiteY8" fmla="*/ 15016 h 59550"/>
                <a:gd name="connsiteX9" fmla="*/ 124725 w 172034"/>
                <a:gd name="connsiteY9" fmla="*/ 9061 h 59550"/>
                <a:gd name="connsiteX10" fmla="*/ 130680 w 172034"/>
                <a:gd name="connsiteY10" fmla="*/ 5091 h 59550"/>
                <a:gd name="connsiteX11" fmla="*/ 167733 w 172034"/>
                <a:gd name="connsiteY11" fmla="*/ 28249 h 59550"/>
                <a:gd name="connsiteX12" fmla="*/ 86348 w 172034"/>
                <a:gd name="connsiteY12" fmla="*/ 54716 h 5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034" h="59550">
                  <a:moveTo>
                    <a:pt x="86348" y="54716"/>
                  </a:moveTo>
                  <a:cubicBezTo>
                    <a:pt x="47309" y="54716"/>
                    <a:pt x="4963" y="46114"/>
                    <a:pt x="4963" y="28249"/>
                  </a:cubicBezTo>
                  <a:cubicBezTo>
                    <a:pt x="4963" y="19647"/>
                    <a:pt x="14226" y="12369"/>
                    <a:pt x="32091" y="7737"/>
                  </a:cubicBezTo>
                  <a:cubicBezTo>
                    <a:pt x="34738" y="7076"/>
                    <a:pt x="37384" y="8399"/>
                    <a:pt x="38046" y="11046"/>
                  </a:cubicBezTo>
                  <a:cubicBezTo>
                    <a:pt x="38708" y="13692"/>
                    <a:pt x="37384" y="16339"/>
                    <a:pt x="34738" y="17001"/>
                  </a:cubicBezTo>
                  <a:cubicBezTo>
                    <a:pt x="18196" y="21633"/>
                    <a:pt x="14888" y="26264"/>
                    <a:pt x="14888" y="28249"/>
                  </a:cubicBezTo>
                  <a:cubicBezTo>
                    <a:pt x="14888" y="34204"/>
                    <a:pt x="40031" y="44791"/>
                    <a:pt x="86348" y="44791"/>
                  </a:cubicBezTo>
                  <a:cubicBezTo>
                    <a:pt x="132665" y="44791"/>
                    <a:pt x="157808" y="33543"/>
                    <a:pt x="157808" y="28249"/>
                  </a:cubicBezTo>
                  <a:cubicBezTo>
                    <a:pt x="157808" y="25603"/>
                    <a:pt x="150530" y="19647"/>
                    <a:pt x="128695" y="15016"/>
                  </a:cubicBezTo>
                  <a:cubicBezTo>
                    <a:pt x="126048" y="14354"/>
                    <a:pt x="124063" y="11707"/>
                    <a:pt x="124725" y="9061"/>
                  </a:cubicBezTo>
                  <a:cubicBezTo>
                    <a:pt x="125386" y="6414"/>
                    <a:pt x="128033" y="4429"/>
                    <a:pt x="130680" y="5091"/>
                  </a:cubicBezTo>
                  <a:cubicBezTo>
                    <a:pt x="147883" y="8399"/>
                    <a:pt x="167733" y="15016"/>
                    <a:pt x="167733" y="28249"/>
                  </a:cubicBezTo>
                  <a:cubicBezTo>
                    <a:pt x="167733" y="46776"/>
                    <a:pt x="126048" y="54716"/>
                    <a:pt x="86348" y="54716"/>
                  </a:cubicBezTo>
                  <a:close/>
                </a:path>
              </a:pathLst>
            </a:custGeom>
            <a:solidFill>
              <a:schemeClr val="tx2"/>
            </a:solid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sp>
          <p:nvSpPr>
            <p:cNvPr id="36" name="Freeform: Shape 604">
              <a:extLst>
                <a:ext uri="{FF2B5EF4-FFF2-40B4-BE49-F238E27FC236}">
                  <a16:creationId xmlns:a16="http://schemas.microsoft.com/office/drawing/2014/main" id="{BC4F8127-B029-F9BC-3D65-CC90451EBA5E}"/>
                </a:ext>
              </a:extLst>
            </p:cNvPr>
            <p:cNvSpPr/>
            <p:nvPr/>
          </p:nvSpPr>
          <p:spPr>
            <a:xfrm>
              <a:off x="342640" y="1463597"/>
              <a:ext cx="302119" cy="95903"/>
            </a:xfrm>
            <a:custGeom>
              <a:avLst/>
              <a:gdLst>
                <a:gd name="connsiteX0" fmla="*/ 156485 w 310984"/>
                <a:gd name="connsiteY0" fmla="*/ 105665 h 105867"/>
                <a:gd name="connsiteX1" fmla="*/ 4963 w 310984"/>
                <a:gd name="connsiteY1" fmla="*/ 52731 h 105867"/>
                <a:gd name="connsiteX2" fmla="*/ 88995 w 310984"/>
                <a:gd name="connsiteY2" fmla="*/ 5091 h 105867"/>
                <a:gd name="connsiteX3" fmla="*/ 94950 w 310984"/>
                <a:gd name="connsiteY3" fmla="*/ 9061 h 105867"/>
                <a:gd name="connsiteX4" fmla="*/ 90980 w 310984"/>
                <a:gd name="connsiteY4" fmla="*/ 15016 h 105867"/>
                <a:gd name="connsiteX5" fmla="*/ 15549 w 310984"/>
                <a:gd name="connsiteY5" fmla="*/ 52731 h 105867"/>
                <a:gd name="connsiteX6" fmla="*/ 157147 w 310984"/>
                <a:gd name="connsiteY6" fmla="*/ 95740 h 105867"/>
                <a:gd name="connsiteX7" fmla="*/ 298744 w 310984"/>
                <a:gd name="connsiteY7" fmla="*/ 52731 h 105867"/>
                <a:gd name="connsiteX8" fmla="*/ 222652 w 310984"/>
                <a:gd name="connsiteY8" fmla="*/ 15016 h 105867"/>
                <a:gd name="connsiteX9" fmla="*/ 218682 w 310984"/>
                <a:gd name="connsiteY9" fmla="*/ 9061 h 105867"/>
                <a:gd name="connsiteX10" fmla="*/ 224637 w 310984"/>
                <a:gd name="connsiteY10" fmla="*/ 5091 h 105867"/>
                <a:gd name="connsiteX11" fmla="*/ 308669 w 310984"/>
                <a:gd name="connsiteY11" fmla="*/ 52731 h 105867"/>
                <a:gd name="connsiteX12" fmla="*/ 156485 w 310984"/>
                <a:gd name="connsiteY12" fmla="*/ 105665 h 10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0984" h="105867">
                  <a:moveTo>
                    <a:pt x="156485" y="105665"/>
                  </a:moveTo>
                  <a:cubicBezTo>
                    <a:pt x="57896" y="105665"/>
                    <a:pt x="4963" y="78536"/>
                    <a:pt x="4963" y="52731"/>
                  </a:cubicBezTo>
                  <a:cubicBezTo>
                    <a:pt x="4963" y="31558"/>
                    <a:pt x="36061" y="14354"/>
                    <a:pt x="88995" y="5091"/>
                  </a:cubicBezTo>
                  <a:cubicBezTo>
                    <a:pt x="91641" y="4429"/>
                    <a:pt x="94288" y="6414"/>
                    <a:pt x="94950" y="9061"/>
                  </a:cubicBezTo>
                  <a:cubicBezTo>
                    <a:pt x="95611" y="11707"/>
                    <a:pt x="93626" y="14354"/>
                    <a:pt x="90980" y="15016"/>
                  </a:cubicBezTo>
                  <a:cubicBezTo>
                    <a:pt x="45986" y="22294"/>
                    <a:pt x="15549" y="37513"/>
                    <a:pt x="15549" y="52731"/>
                  </a:cubicBezTo>
                  <a:cubicBezTo>
                    <a:pt x="15549" y="73243"/>
                    <a:pt x="73776" y="95740"/>
                    <a:pt x="157147" y="95740"/>
                  </a:cubicBezTo>
                  <a:cubicBezTo>
                    <a:pt x="240517" y="95740"/>
                    <a:pt x="298744" y="73243"/>
                    <a:pt x="298744" y="52731"/>
                  </a:cubicBezTo>
                  <a:cubicBezTo>
                    <a:pt x="298744" y="37513"/>
                    <a:pt x="268307" y="22294"/>
                    <a:pt x="222652" y="15016"/>
                  </a:cubicBezTo>
                  <a:cubicBezTo>
                    <a:pt x="220005" y="14354"/>
                    <a:pt x="218020" y="11707"/>
                    <a:pt x="218682" y="9061"/>
                  </a:cubicBezTo>
                  <a:cubicBezTo>
                    <a:pt x="219344" y="6414"/>
                    <a:pt x="221990" y="4429"/>
                    <a:pt x="224637" y="5091"/>
                  </a:cubicBezTo>
                  <a:cubicBezTo>
                    <a:pt x="277571" y="13692"/>
                    <a:pt x="308669" y="31558"/>
                    <a:pt x="308669" y="52731"/>
                  </a:cubicBezTo>
                  <a:cubicBezTo>
                    <a:pt x="308007" y="77874"/>
                    <a:pt x="255074" y="105665"/>
                    <a:pt x="156485" y="105665"/>
                  </a:cubicBezTo>
                  <a:close/>
                </a:path>
              </a:pathLst>
            </a:custGeom>
            <a:solidFill>
              <a:schemeClr val="tx2"/>
            </a:solid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sp>
          <p:nvSpPr>
            <p:cNvPr id="37" name="Freeform: Shape 605">
              <a:extLst>
                <a:ext uri="{FF2B5EF4-FFF2-40B4-BE49-F238E27FC236}">
                  <a16:creationId xmlns:a16="http://schemas.microsoft.com/office/drawing/2014/main" id="{8E1E8BC5-CF02-BEDB-84CA-6978200FF330}"/>
                </a:ext>
              </a:extLst>
            </p:cNvPr>
            <p:cNvSpPr/>
            <p:nvPr/>
          </p:nvSpPr>
          <p:spPr>
            <a:xfrm>
              <a:off x="306001" y="1079500"/>
              <a:ext cx="372827" cy="431566"/>
            </a:xfrm>
            <a:custGeom>
              <a:avLst/>
              <a:gdLst>
                <a:gd name="connsiteX0" fmla="*/ 194862 w 383768"/>
                <a:gd name="connsiteY0" fmla="*/ 471440 h 476402"/>
                <a:gd name="connsiteX1" fmla="*/ 178982 w 383768"/>
                <a:gd name="connsiteY1" fmla="*/ 461515 h 476402"/>
                <a:gd name="connsiteX2" fmla="*/ 86348 w 383768"/>
                <a:gd name="connsiteY2" fmla="*/ 366896 h 476402"/>
                <a:gd name="connsiteX3" fmla="*/ 65836 w 383768"/>
                <a:gd name="connsiteY3" fmla="*/ 345723 h 476402"/>
                <a:gd name="connsiteX4" fmla="*/ 4963 w 383768"/>
                <a:gd name="connsiteY4" fmla="*/ 201479 h 476402"/>
                <a:gd name="connsiteX5" fmla="*/ 194862 w 383768"/>
                <a:gd name="connsiteY5" fmla="*/ 4963 h 476402"/>
                <a:gd name="connsiteX6" fmla="*/ 384761 w 383768"/>
                <a:gd name="connsiteY6" fmla="*/ 201479 h 476402"/>
                <a:gd name="connsiteX7" fmla="*/ 323226 w 383768"/>
                <a:gd name="connsiteY7" fmla="*/ 346384 h 476402"/>
                <a:gd name="connsiteX8" fmla="*/ 308669 w 383768"/>
                <a:gd name="connsiteY8" fmla="*/ 361603 h 476402"/>
                <a:gd name="connsiteX9" fmla="*/ 210742 w 383768"/>
                <a:gd name="connsiteY9" fmla="*/ 462177 h 476402"/>
                <a:gd name="connsiteX10" fmla="*/ 194862 w 383768"/>
                <a:gd name="connsiteY10" fmla="*/ 471440 h 476402"/>
                <a:gd name="connsiteX11" fmla="*/ 194862 w 383768"/>
                <a:gd name="connsiteY11" fmla="*/ 14226 h 476402"/>
                <a:gd name="connsiteX12" fmla="*/ 14888 w 383768"/>
                <a:gd name="connsiteY12" fmla="*/ 200817 h 476402"/>
                <a:gd name="connsiteX13" fmla="*/ 73115 w 383768"/>
                <a:gd name="connsiteY13" fmla="*/ 338444 h 476402"/>
                <a:gd name="connsiteX14" fmla="*/ 93626 w 383768"/>
                <a:gd name="connsiteY14" fmla="*/ 359618 h 476402"/>
                <a:gd name="connsiteX15" fmla="*/ 186260 w 383768"/>
                <a:gd name="connsiteY15" fmla="*/ 454236 h 476402"/>
                <a:gd name="connsiteX16" fmla="*/ 194862 w 383768"/>
                <a:gd name="connsiteY16" fmla="*/ 461515 h 476402"/>
                <a:gd name="connsiteX17" fmla="*/ 194862 w 383768"/>
                <a:gd name="connsiteY17" fmla="*/ 461515 h 476402"/>
                <a:gd name="connsiteX18" fmla="*/ 204125 w 383768"/>
                <a:gd name="connsiteY18" fmla="*/ 454236 h 476402"/>
                <a:gd name="connsiteX19" fmla="*/ 302052 w 383768"/>
                <a:gd name="connsiteY19" fmla="*/ 354324 h 476402"/>
                <a:gd name="connsiteX20" fmla="*/ 317271 w 383768"/>
                <a:gd name="connsiteY20" fmla="*/ 338444 h 476402"/>
                <a:gd name="connsiteX21" fmla="*/ 375498 w 383768"/>
                <a:gd name="connsiteY21" fmla="*/ 200817 h 476402"/>
                <a:gd name="connsiteX22" fmla="*/ 194862 w 383768"/>
                <a:gd name="connsiteY22" fmla="*/ 14226 h 47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3768" h="476402">
                  <a:moveTo>
                    <a:pt x="194862" y="471440"/>
                  </a:moveTo>
                  <a:cubicBezTo>
                    <a:pt x="190230" y="471440"/>
                    <a:pt x="186260" y="468132"/>
                    <a:pt x="178982" y="461515"/>
                  </a:cubicBezTo>
                  <a:cubicBezTo>
                    <a:pt x="169718" y="452251"/>
                    <a:pt x="115461" y="396671"/>
                    <a:pt x="86348" y="366896"/>
                  </a:cubicBezTo>
                  <a:cubicBezTo>
                    <a:pt x="74438" y="354986"/>
                    <a:pt x="66498" y="346384"/>
                    <a:pt x="65836" y="345723"/>
                  </a:cubicBezTo>
                  <a:cubicBezTo>
                    <a:pt x="26798" y="308669"/>
                    <a:pt x="4963" y="255735"/>
                    <a:pt x="4963" y="201479"/>
                  </a:cubicBezTo>
                  <a:cubicBezTo>
                    <a:pt x="4963" y="92965"/>
                    <a:pt x="90318" y="4963"/>
                    <a:pt x="194862" y="4963"/>
                  </a:cubicBezTo>
                  <a:cubicBezTo>
                    <a:pt x="299406" y="4963"/>
                    <a:pt x="384761" y="92965"/>
                    <a:pt x="384761" y="201479"/>
                  </a:cubicBezTo>
                  <a:cubicBezTo>
                    <a:pt x="384761" y="256397"/>
                    <a:pt x="362264" y="309331"/>
                    <a:pt x="323226" y="346384"/>
                  </a:cubicBezTo>
                  <a:cubicBezTo>
                    <a:pt x="322564" y="347046"/>
                    <a:pt x="317271" y="352339"/>
                    <a:pt x="308669" y="361603"/>
                  </a:cubicBezTo>
                  <a:cubicBezTo>
                    <a:pt x="279556" y="392039"/>
                    <a:pt x="218020" y="454236"/>
                    <a:pt x="210742" y="462177"/>
                  </a:cubicBezTo>
                  <a:cubicBezTo>
                    <a:pt x="203464" y="468132"/>
                    <a:pt x="199493" y="471440"/>
                    <a:pt x="194862" y="471440"/>
                  </a:cubicBezTo>
                  <a:close/>
                  <a:moveTo>
                    <a:pt x="194862" y="14226"/>
                  </a:moveTo>
                  <a:cubicBezTo>
                    <a:pt x="95611" y="14226"/>
                    <a:pt x="14888" y="98258"/>
                    <a:pt x="14888" y="200817"/>
                  </a:cubicBezTo>
                  <a:cubicBezTo>
                    <a:pt x="14888" y="253089"/>
                    <a:pt x="36061" y="302714"/>
                    <a:pt x="73115" y="338444"/>
                  </a:cubicBezTo>
                  <a:cubicBezTo>
                    <a:pt x="73115" y="338444"/>
                    <a:pt x="75761" y="341753"/>
                    <a:pt x="93626" y="359618"/>
                  </a:cubicBezTo>
                  <a:cubicBezTo>
                    <a:pt x="122740" y="389393"/>
                    <a:pt x="176997" y="445635"/>
                    <a:pt x="186260" y="454236"/>
                  </a:cubicBezTo>
                  <a:cubicBezTo>
                    <a:pt x="188907" y="456883"/>
                    <a:pt x="193538" y="461515"/>
                    <a:pt x="194862" y="461515"/>
                  </a:cubicBezTo>
                  <a:lnTo>
                    <a:pt x="194862" y="461515"/>
                  </a:lnTo>
                  <a:cubicBezTo>
                    <a:pt x="196185" y="461515"/>
                    <a:pt x="201479" y="456883"/>
                    <a:pt x="204125" y="454236"/>
                  </a:cubicBezTo>
                  <a:cubicBezTo>
                    <a:pt x="212065" y="446958"/>
                    <a:pt x="272939" y="384099"/>
                    <a:pt x="302052" y="354324"/>
                  </a:cubicBezTo>
                  <a:cubicBezTo>
                    <a:pt x="317271" y="339106"/>
                    <a:pt x="317271" y="339106"/>
                    <a:pt x="317271" y="338444"/>
                  </a:cubicBezTo>
                  <a:cubicBezTo>
                    <a:pt x="354324" y="303376"/>
                    <a:pt x="375498" y="253089"/>
                    <a:pt x="375498" y="200817"/>
                  </a:cubicBezTo>
                  <a:cubicBezTo>
                    <a:pt x="375498" y="97596"/>
                    <a:pt x="294774" y="14226"/>
                    <a:pt x="194862" y="14226"/>
                  </a:cubicBezTo>
                  <a:close/>
                </a:path>
              </a:pathLst>
            </a:custGeom>
            <a:solidFill>
              <a:schemeClr val="tx2"/>
            </a:solid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sp>
          <p:nvSpPr>
            <p:cNvPr id="38" name="Freeform: Shape 606">
              <a:extLst>
                <a:ext uri="{FF2B5EF4-FFF2-40B4-BE49-F238E27FC236}">
                  <a16:creationId xmlns:a16="http://schemas.microsoft.com/office/drawing/2014/main" id="{04CCED90-6CCA-5779-EAE0-CF202CCE9C45}"/>
                </a:ext>
              </a:extLst>
            </p:cNvPr>
            <p:cNvSpPr/>
            <p:nvPr/>
          </p:nvSpPr>
          <p:spPr>
            <a:xfrm>
              <a:off x="350996" y="1121461"/>
              <a:ext cx="282835" cy="263736"/>
            </a:xfrm>
            <a:custGeom>
              <a:avLst/>
              <a:gdLst>
                <a:gd name="connsiteX0" fmla="*/ 148545 w 291134"/>
                <a:gd name="connsiteY0" fmla="*/ 291466 h 291134"/>
                <a:gd name="connsiteX1" fmla="*/ 4963 w 291134"/>
                <a:gd name="connsiteY1" fmla="*/ 147883 h 291134"/>
                <a:gd name="connsiteX2" fmla="*/ 148545 w 291134"/>
                <a:gd name="connsiteY2" fmla="*/ 4963 h 291134"/>
                <a:gd name="connsiteX3" fmla="*/ 292127 w 291134"/>
                <a:gd name="connsiteY3" fmla="*/ 148545 h 291134"/>
                <a:gd name="connsiteX4" fmla="*/ 148545 w 291134"/>
                <a:gd name="connsiteY4" fmla="*/ 291466 h 291134"/>
                <a:gd name="connsiteX5" fmla="*/ 148545 w 291134"/>
                <a:gd name="connsiteY5" fmla="*/ 14888 h 291134"/>
                <a:gd name="connsiteX6" fmla="*/ 14888 w 291134"/>
                <a:gd name="connsiteY6" fmla="*/ 148545 h 291134"/>
                <a:gd name="connsiteX7" fmla="*/ 148545 w 291134"/>
                <a:gd name="connsiteY7" fmla="*/ 281541 h 291134"/>
                <a:gd name="connsiteX8" fmla="*/ 282202 w 291134"/>
                <a:gd name="connsiteY8" fmla="*/ 147883 h 291134"/>
                <a:gd name="connsiteX9" fmla="*/ 148545 w 291134"/>
                <a:gd name="connsiteY9" fmla="*/ 14888 h 29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134" h="291134">
                  <a:moveTo>
                    <a:pt x="148545" y="291466"/>
                  </a:moveTo>
                  <a:cubicBezTo>
                    <a:pt x="69145" y="291466"/>
                    <a:pt x="4963" y="227284"/>
                    <a:pt x="4963" y="147883"/>
                  </a:cubicBezTo>
                  <a:cubicBezTo>
                    <a:pt x="4963" y="68483"/>
                    <a:pt x="69806" y="4963"/>
                    <a:pt x="148545" y="4963"/>
                  </a:cubicBezTo>
                  <a:cubicBezTo>
                    <a:pt x="227945" y="4963"/>
                    <a:pt x="292127" y="69145"/>
                    <a:pt x="292127" y="148545"/>
                  </a:cubicBezTo>
                  <a:cubicBezTo>
                    <a:pt x="292127" y="227945"/>
                    <a:pt x="227945" y="291466"/>
                    <a:pt x="148545" y="291466"/>
                  </a:cubicBezTo>
                  <a:close/>
                  <a:moveTo>
                    <a:pt x="148545" y="14888"/>
                  </a:moveTo>
                  <a:cubicBezTo>
                    <a:pt x="75100" y="14888"/>
                    <a:pt x="14888" y="75100"/>
                    <a:pt x="14888" y="148545"/>
                  </a:cubicBezTo>
                  <a:cubicBezTo>
                    <a:pt x="14888" y="221990"/>
                    <a:pt x="75100" y="281541"/>
                    <a:pt x="148545" y="281541"/>
                  </a:cubicBezTo>
                  <a:cubicBezTo>
                    <a:pt x="221990" y="281541"/>
                    <a:pt x="282202" y="221329"/>
                    <a:pt x="282202" y="147883"/>
                  </a:cubicBezTo>
                  <a:cubicBezTo>
                    <a:pt x="282202" y="74438"/>
                    <a:pt x="222652" y="14888"/>
                    <a:pt x="148545" y="14888"/>
                  </a:cubicBezTo>
                  <a:close/>
                </a:path>
              </a:pathLst>
            </a:custGeom>
            <a:solidFill>
              <a:schemeClr val="tx2"/>
            </a:solid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grpSp>
          <p:nvGrpSpPr>
            <p:cNvPr id="39" name="Group 781">
              <a:extLst>
                <a:ext uri="{FF2B5EF4-FFF2-40B4-BE49-F238E27FC236}">
                  <a16:creationId xmlns:a16="http://schemas.microsoft.com/office/drawing/2014/main" id="{22BB6194-7848-C25B-7BA8-5BBCC1FF8961}"/>
                </a:ext>
              </a:extLst>
            </p:cNvPr>
            <p:cNvGrpSpPr/>
            <p:nvPr/>
          </p:nvGrpSpPr>
          <p:grpSpPr>
            <a:xfrm>
              <a:off x="418876" y="1178950"/>
              <a:ext cx="154529" cy="152300"/>
              <a:chOff x="3700009" y="4064344"/>
              <a:chExt cx="115897" cy="127261"/>
            </a:xfrm>
            <a:solidFill>
              <a:srgbClr val="3350B8"/>
            </a:solidFill>
          </p:grpSpPr>
          <p:sp>
            <p:nvSpPr>
              <p:cNvPr id="40" name="Freeform: Shape 607">
                <a:extLst>
                  <a:ext uri="{FF2B5EF4-FFF2-40B4-BE49-F238E27FC236}">
                    <a16:creationId xmlns:a16="http://schemas.microsoft.com/office/drawing/2014/main" id="{A66226A1-3BCC-49F6-AF0D-E5CAB407D240}"/>
                  </a:ext>
                </a:extLst>
              </p:cNvPr>
              <p:cNvSpPr/>
              <p:nvPr/>
            </p:nvSpPr>
            <p:spPr>
              <a:xfrm>
                <a:off x="3733949" y="4103254"/>
                <a:ext cx="48210" cy="50085"/>
              </a:xfrm>
              <a:custGeom>
                <a:avLst/>
                <a:gdLst>
                  <a:gd name="connsiteX0" fmla="*/ 33414 w 66167"/>
                  <a:gd name="connsiteY0" fmla="*/ 62131 h 66167"/>
                  <a:gd name="connsiteX1" fmla="*/ 14226 w 66167"/>
                  <a:gd name="connsiteY1" fmla="*/ 54191 h 66167"/>
                  <a:gd name="connsiteX2" fmla="*/ 4963 w 66167"/>
                  <a:gd name="connsiteY2" fmla="*/ 34341 h 66167"/>
                  <a:gd name="connsiteX3" fmla="*/ 12903 w 66167"/>
                  <a:gd name="connsiteY3" fmla="*/ 13829 h 66167"/>
                  <a:gd name="connsiteX4" fmla="*/ 53264 w 66167"/>
                  <a:gd name="connsiteY4" fmla="*/ 12506 h 66167"/>
                  <a:gd name="connsiteX5" fmla="*/ 54588 w 66167"/>
                  <a:gd name="connsiteY5" fmla="*/ 52868 h 66167"/>
                  <a:gd name="connsiteX6" fmla="*/ 54588 w 66167"/>
                  <a:gd name="connsiteY6" fmla="*/ 52868 h 66167"/>
                  <a:gd name="connsiteX7" fmla="*/ 34738 w 66167"/>
                  <a:gd name="connsiteY7" fmla="*/ 62131 h 66167"/>
                  <a:gd name="connsiteX8" fmla="*/ 33414 w 66167"/>
                  <a:gd name="connsiteY8" fmla="*/ 62131 h 66167"/>
                  <a:gd name="connsiteX9" fmla="*/ 33414 w 66167"/>
                  <a:gd name="connsiteY9" fmla="*/ 15153 h 66167"/>
                  <a:gd name="connsiteX10" fmla="*/ 19519 w 66167"/>
                  <a:gd name="connsiteY10" fmla="*/ 21108 h 66167"/>
                  <a:gd name="connsiteX11" fmla="*/ 20181 w 66167"/>
                  <a:gd name="connsiteY11" fmla="*/ 47574 h 66167"/>
                  <a:gd name="connsiteX12" fmla="*/ 46648 w 66167"/>
                  <a:gd name="connsiteY12" fmla="*/ 46913 h 66167"/>
                  <a:gd name="connsiteX13" fmla="*/ 45986 w 66167"/>
                  <a:gd name="connsiteY13" fmla="*/ 20446 h 66167"/>
                  <a:gd name="connsiteX14" fmla="*/ 33414 w 66167"/>
                  <a:gd name="connsiteY14" fmla="*/ 15153 h 66167"/>
                  <a:gd name="connsiteX15" fmla="*/ 50618 w 66167"/>
                  <a:gd name="connsiteY15" fmla="*/ 49559 h 66167"/>
                  <a:gd name="connsiteX16" fmla="*/ 50618 w 66167"/>
                  <a:gd name="connsiteY16" fmla="*/ 49559 h 66167"/>
                  <a:gd name="connsiteX17" fmla="*/ 50618 w 66167"/>
                  <a:gd name="connsiteY17" fmla="*/ 49559 h 6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67" h="66167">
                    <a:moveTo>
                      <a:pt x="33414" y="62131"/>
                    </a:moveTo>
                    <a:cubicBezTo>
                      <a:pt x="26136" y="62131"/>
                      <a:pt x="19519" y="59484"/>
                      <a:pt x="14226" y="54191"/>
                    </a:cubicBezTo>
                    <a:cubicBezTo>
                      <a:pt x="8933" y="48898"/>
                      <a:pt x="5624" y="41619"/>
                      <a:pt x="4963" y="34341"/>
                    </a:cubicBezTo>
                    <a:cubicBezTo>
                      <a:pt x="4963" y="26401"/>
                      <a:pt x="7609" y="19784"/>
                      <a:pt x="12903" y="13829"/>
                    </a:cubicBezTo>
                    <a:cubicBezTo>
                      <a:pt x="23489" y="2581"/>
                      <a:pt x="42016" y="1919"/>
                      <a:pt x="53264" y="12506"/>
                    </a:cubicBezTo>
                    <a:cubicBezTo>
                      <a:pt x="64513" y="23093"/>
                      <a:pt x="65174" y="41619"/>
                      <a:pt x="54588" y="52868"/>
                    </a:cubicBezTo>
                    <a:lnTo>
                      <a:pt x="54588" y="52868"/>
                    </a:lnTo>
                    <a:cubicBezTo>
                      <a:pt x="49294" y="58161"/>
                      <a:pt x="42016" y="61470"/>
                      <a:pt x="34738" y="62131"/>
                    </a:cubicBezTo>
                    <a:cubicBezTo>
                      <a:pt x="34076" y="62131"/>
                      <a:pt x="33414" y="62131"/>
                      <a:pt x="33414" y="62131"/>
                    </a:cubicBezTo>
                    <a:close/>
                    <a:moveTo>
                      <a:pt x="33414" y="15153"/>
                    </a:moveTo>
                    <a:cubicBezTo>
                      <a:pt x="28121" y="15153"/>
                      <a:pt x="23489" y="17138"/>
                      <a:pt x="19519" y="21108"/>
                    </a:cubicBezTo>
                    <a:cubicBezTo>
                      <a:pt x="12241" y="28386"/>
                      <a:pt x="12903" y="40296"/>
                      <a:pt x="20181" y="47574"/>
                    </a:cubicBezTo>
                    <a:cubicBezTo>
                      <a:pt x="27459" y="54853"/>
                      <a:pt x="39369" y="54191"/>
                      <a:pt x="46648" y="46913"/>
                    </a:cubicBezTo>
                    <a:cubicBezTo>
                      <a:pt x="53926" y="39634"/>
                      <a:pt x="53264" y="27724"/>
                      <a:pt x="45986" y="20446"/>
                    </a:cubicBezTo>
                    <a:cubicBezTo>
                      <a:pt x="42678" y="16476"/>
                      <a:pt x="38046" y="15153"/>
                      <a:pt x="33414" y="15153"/>
                    </a:cubicBezTo>
                    <a:close/>
                    <a:moveTo>
                      <a:pt x="50618" y="49559"/>
                    </a:moveTo>
                    <a:lnTo>
                      <a:pt x="50618" y="49559"/>
                    </a:lnTo>
                    <a:lnTo>
                      <a:pt x="50618" y="49559"/>
                    </a:lnTo>
                    <a:close/>
                  </a:path>
                </a:pathLst>
              </a:custGeom>
              <a:grp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sp>
            <p:nvSpPr>
              <p:cNvPr id="41" name="Freeform: Shape 608">
                <a:extLst>
                  <a:ext uri="{FF2B5EF4-FFF2-40B4-BE49-F238E27FC236}">
                    <a16:creationId xmlns:a16="http://schemas.microsoft.com/office/drawing/2014/main" id="{E44B023F-98A2-3293-2157-A9F658766BDC}"/>
                  </a:ext>
                </a:extLst>
              </p:cNvPr>
              <p:cNvSpPr/>
              <p:nvPr/>
            </p:nvSpPr>
            <p:spPr>
              <a:xfrm>
                <a:off x="3758053" y="4064344"/>
                <a:ext cx="57853" cy="55094"/>
              </a:xfrm>
              <a:custGeom>
                <a:avLst/>
                <a:gdLst>
                  <a:gd name="connsiteX0" fmla="*/ 38708 w 79400"/>
                  <a:gd name="connsiteY0" fmla="*/ 73836 h 72783"/>
                  <a:gd name="connsiteX1" fmla="*/ 36061 w 79400"/>
                  <a:gd name="connsiteY1" fmla="*/ 73174 h 72783"/>
                  <a:gd name="connsiteX2" fmla="*/ 34076 w 79400"/>
                  <a:gd name="connsiteY2" fmla="*/ 66558 h 72783"/>
                  <a:gd name="connsiteX3" fmla="*/ 57234 w 79400"/>
                  <a:gd name="connsiteY3" fmla="*/ 23549 h 72783"/>
                  <a:gd name="connsiteX4" fmla="*/ 12241 w 79400"/>
                  <a:gd name="connsiteY4" fmla="*/ 49354 h 72783"/>
                  <a:gd name="connsiteX5" fmla="*/ 5624 w 79400"/>
                  <a:gd name="connsiteY5" fmla="*/ 47369 h 72783"/>
                  <a:gd name="connsiteX6" fmla="*/ 7609 w 79400"/>
                  <a:gd name="connsiteY6" fmla="*/ 40752 h 72783"/>
                  <a:gd name="connsiteX7" fmla="*/ 67821 w 79400"/>
                  <a:gd name="connsiteY7" fmla="*/ 5684 h 72783"/>
                  <a:gd name="connsiteX8" fmla="*/ 73776 w 79400"/>
                  <a:gd name="connsiteY8" fmla="*/ 6346 h 72783"/>
                  <a:gd name="connsiteX9" fmla="*/ 74438 w 79400"/>
                  <a:gd name="connsiteY9" fmla="*/ 12301 h 72783"/>
                  <a:gd name="connsiteX10" fmla="*/ 43339 w 79400"/>
                  <a:gd name="connsiteY10" fmla="*/ 70528 h 72783"/>
                  <a:gd name="connsiteX11" fmla="*/ 38708 w 79400"/>
                  <a:gd name="connsiteY11" fmla="*/ 73836 h 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400" h="72783">
                    <a:moveTo>
                      <a:pt x="38708" y="73836"/>
                    </a:moveTo>
                    <a:cubicBezTo>
                      <a:pt x="38046" y="73836"/>
                      <a:pt x="37384" y="73836"/>
                      <a:pt x="36061" y="73174"/>
                    </a:cubicBezTo>
                    <a:cubicBezTo>
                      <a:pt x="33414" y="71851"/>
                      <a:pt x="32753" y="68543"/>
                      <a:pt x="34076" y="66558"/>
                    </a:cubicBezTo>
                    <a:lnTo>
                      <a:pt x="57234" y="23549"/>
                    </a:lnTo>
                    <a:lnTo>
                      <a:pt x="12241" y="49354"/>
                    </a:lnTo>
                    <a:cubicBezTo>
                      <a:pt x="9594" y="50677"/>
                      <a:pt x="6948" y="50016"/>
                      <a:pt x="5624" y="47369"/>
                    </a:cubicBezTo>
                    <a:cubicBezTo>
                      <a:pt x="4301" y="44722"/>
                      <a:pt x="4963" y="42076"/>
                      <a:pt x="7609" y="40752"/>
                    </a:cubicBezTo>
                    <a:lnTo>
                      <a:pt x="67821" y="5684"/>
                    </a:lnTo>
                    <a:cubicBezTo>
                      <a:pt x="69806" y="4361"/>
                      <a:pt x="72453" y="5022"/>
                      <a:pt x="73776" y="6346"/>
                    </a:cubicBezTo>
                    <a:cubicBezTo>
                      <a:pt x="75100" y="7669"/>
                      <a:pt x="75761" y="10316"/>
                      <a:pt x="74438" y="12301"/>
                    </a:cubicBezTo>
                    <a:lnTo>
                      <a:pt x="43339" y="70528"/>
                    </a:lnTo>
                    <a:cubicBezTo>
                      <a:pt x="42678" y="72513"/>
                      <a:pt x="40693" y="73836"/>
                      <a:pt x="38708" y="73836"/>
                    </a:cubicBezTo>
                    <a:close/>
                  </a:path>
                </a:pathLst>
              </a:custGeom>
              <a:grp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sp>
            <p:nvSpPr>
              <p:cNvPr id="42" name="Freeform: Shape 609">
                <a:extLst>
                  <a:ext uri="{FF2B5EF4-FFF2-40B4-BE49-F238E27FC236}">
                    <a16:creationId xmlns:a16="http://schemas.microsoft.com/office/drawing/2014/main" id="{357FA7B4-00FC-5D6A-581C-693730EDFED2}"/>
                  </a:ext>
                </a:extLst>
              </p:cNvPr>
              <p:cNvSpPr/>
              <p:nvPr/>
            </p:nvSpPr>
            <p:spPr>
              <a:xfrm>
                <a:off x="3700009" y="4131503"/>
                <a:ext cx="53031" cy="60102"/>
              </a:xfrm>
              <a:custGeom>
                <a:avLst/>
                <a:gdLst>
                  <a:gd name="connsiteX0" fmla="*/ 9854 w 72783"/>
                  <a:gd name="connsiteY0" fmla="*/ 75761 h 79400"/>
                  <a:gd name="connsiteX1" fmla="*/ 6545 w 72783"/>
                  <a:gd name="connsiteY1" fmla="*/ 74438 h 79400"/>
                  <a:gd name="connsiteX2" fmla="*/ 5222 w 72783"/>
                  <a:gd name="connsiteY2" fmla="*/ 68483 h 79400"/>
                  <a:gd name="connsiteX3" fmla="*/ 34997 w 72783"/>
                  <a:gd name="connsiteY3" fmla="*/ 7609 h 79400"/>
                  <a:gd name="connsiteX4" fmla="*/ 41614 w 72783"/>
                  <a:gd name="connsiteY4" fmla="*/ 5624 h 79400"/>
                  <a:gd name="connsiteX5" fmla="*/ 43599 w 72783"/>
                  <a:gd name="connsiteY5" fmla="*/ 12241 h 79400"/>
                  <a:gd name="connsiteX6" fmla="*/ 21102 w 72783"/>
                  <a:gd name="connsiteY6" fmla="*/ 58558 h 79400"/>
                  <a:gd name="connsiteX7" fmla="*/ 65434 w 72783"/>
                  <a:gd name="connsiteY7" fmla="*/ 33414 h 79400"/>
                  <a:gd name="connsiteX8" fmla="*/ 72051 w 72783"/>
                  <a:gd name="connsiteY8" fmla="*/ 35399 h 79400"/>
                  <a:gd name="connsiteX9" fmla="*/ 70066 w 72783"/>
                  <a:gd name="connsiteY9" fmla="*/ 42016 h 79400"/>
                  <a:gd name="connsiteX10" fmla="*/ 11839 w 72783"/>
                  <a:gd name="connsiteY10" fmla="*/ 75100 h 79400"/>
                  <a:gd name="connsiteX11" fmla="*/ 9854 w 72783"/>
                  <a:gd name="connsiteY11" fmla="*/ 75761 h 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783" h="79400">
                    <a:moveTo>
                      <a:pt x="9854" y="75761"/>
                    </a:moveTo>
                    <a:cubicBezTo>
                      <a:pt x="8530" y="75761"/>
                      <a:pt x="7207" y="75100"/>
                      <a:pt x="6545" y="74438"/>
                    </a:cubicBezTo>
                    <a:cubicBezTo>
                      <a:pt x="5222" y="73115"/>
                      <a:pt x="4560" y="70468"/>
                      <a:pt x="5222" y="68483"/>
                    </a:cubicBezTo>
                    <a:lnTo>
                      <a:pt x="34997" y="7609"/>
                    </a:lnTo>
                    <a:cubicBezTo>
                      <a:pt x="36321" y="4963"/>
                      <a:pt x="38967" y="4301"/>
                      <a:pt x="41614" y="5624"/>
                    </a:cubicBezTo>
                    <a:cubicBezTo>
                      <a:pt x="44261" y="6948"/>
                      <a:pt x="44922" y="9594"/>
                      <a:pt x="43599" y="12241"/>
                    </a:cubicBezTo>
                    <a:lnTo>
                      <a:pt x="21102" y="58558"/>
                    </a:lnTo>
                    <a:lnTo>
                      <a:pt x="65434" y="33414"/>
                    </a:lnTo>
                    <a:cubicBezTo>
                      <a:pt x="68081" y="32091"/>
                      <a:pt x="70727" y="32753"/>
                      <a:pt x="72051" y="35399"/>
                    </a:cubicBezTo>
                    <a:cubicBezTo>
                      <a:pt x="73374" y="38046"/>
                      <a:pt x="72712" y="40693"/>
                      <a:pt x="70066" y="42016"/>
                    </a:cubicBezTo>
                    <a:lnTo>
                      <a:pt x="11839" y="75100"/>
                    </a:lnTo>
                    <a:cubicBezTo>
                      <a:pt x="11839" y="75761"/>
                      <a:pt x="11177" y="75761"/>
                      <a:pt x="9854" y="75761"/>
                    </a:cubicBezTo>
                    <a:close/>
                  </a:path>
                </a:pathLst>
              </a:custGeom>
              <a:grpFill/>
              <a:ln w="9525" cap="flat">
                <a:noFill/>
                <a:prstDash val="solid"/>
                <a:miter/>
              </a:ln>
            </p:spPr>
            <p:txBody>
              <a:bodyPr rtlCol="0" anchor="ctr"/>
              <a:lstStyle/>
              <a:p>
                <a:pPr defTabSz="1219108">
                  <a:defRPr/>
                </a:pPr>
                <a:endParaRPr lang="en-GB">
                  <a:solidFill>
                    <a:prstClr val="black"/>
                  </a:solidFill>
                  <a:latin typeface="Arial"/>
                  <a:ea typeface="Arial Unicode MS"/>
                  <a:cs typeface="Arial"/>
                </a:endParaRPr>
              </a:p>
            </p:txBody>
          </p:sp>
        </p:grpSp>
      </p:grpSp>
      <p:grpSp>
        <p:nvGrpSpPr>
          <p:cNvPr id="43" name="Group 42">
            <a:extLst>
              <a:ext uri="{FF2B5EF4-FFF2-40B4-BE49-F238E27FC236}">
                <a16:creationId xmlns:a16="http://schemas.microsoft.com/office/drawing/2014/main" id="{9500AF86-FEEB-0466-91A3-09E8939DB3EE}"/>
              </a:ext>
            </a:extLst>
          </p:cNvPr>
          <p:cNvGrpSpPr/>
          <p:nvPr/>
        </p:nvGrpSpPr>
        <p:grpSpPr>
          <a:xfrm>
            <a:off x="6608234" y="1442056"/>
            <a:ext cx="733239" cy="634555"/>
            <a:chOff x="4370381" y="1081542"/>
            <a:chExt cx="549929" cy="475916"/>
          </a:xfrm>
        </p:grpSpPr>
        <p:grpSp>
          <p:nvGrpSpPr>
            <p:cNvPr id="44" name="Group 43">
              <a:extLst>
                <a:ext uri="{FF2B5EF4-FFF2-40B4-BE49-F238E27FC236}">
                  <a16:creationId xmlns:a16="http://schemas.microsoft.com/office/drawing/2014/main" id="{E5D256D0-240F-0EB0-1D8A-EC1FB2AD03A8}"/>
                </a:ext>
              </a:extLst>
            </p:cNvPr>
            <p:cNvGrpSpPr/>
            <p:nvPr/>
          </p:nvGrpSpPr>
          <p:grpSpPr>
            <a:xfrm>
              <a:off x="4551595" y="1081542"/>
              <a:ext cx="368715" cy="288925"/>
              <a:chOff x="1966545" y="1686356"/>
              <a:chExt cx="291528" cy="228441"/>
            </a:xfrm>
            <a:solidFill>
              <a:srgbClr val="3350B8"/>
            </a:solidFill>
          </p:grpSpPr>
          <p:sp>
            <p:nvSpPr>
              <p:cNvPr id="51" name="Freihandform: Form 292">
                <a:extLst>
                  <a:ext uri="{FF2B5EF4-FFF2-40B4-BE49-F238E27FC236}">
                    <a16:creationId xmlns:a16="http://schemas.microsoft.com/office/drawing/2014/main" id="{45C1D1CA-5BF4-30D0-9DEA-AB332BF47AA0}"/>
                  </a:ext>
                </a:extLst>
              </p:cNvPr>
              <p:cNvSpPr/>
              <p:nvPr/>
            </p:nvSpPr>
            <p:spPr>
              <a:xfrm>
                <a:off x="1966545" y="1831195"/>
                <a:ext cx="83602" cy="83602"/>
              </a:xfrm>
              <a:custGeom>
                <a:avLst/>
                <a:gdLst>
                  <a:gd name="connsiteX0" fmla="*/ 41801 w 83602"/>
                  <a:gd name="connsiteY0" fmla="*/ 83602 h 83602"/>
                  <a:gd name="connsiteX1" fmla="*/ 0 w 83602"/>
                  <a:gd name="connsiteY1" fmla="*/ 41801 h 83602"/>
                  <a:gd name="connsiteX2" fmla="*/ 41801 w 83602"/>
                  <a:gd name="connsiteY2" fmla="*/ 0 h 83602"/>
                  <a:gd name="connsiteX3" fmla="*/ 83602 w 83602"/>
                  <a:gd name="connsiteY3" fmla="*/ 41801 h 83602"/>
                  <a:gd name="connsiteX4" fmla="*/ 41801 w 83602"/>
                  <a:gd name="connsiteY4" fmla="*/ 83602 h 83602"/>
                  <a:gd name="connsiteX5" fmla="*/ 41801 w 83602"/>
                  <a:gd name="connsiteY5" fmla="*/ 9879 h 83602"/>
                  <a:gd name="connsiteX6" fmla="*/ 9908 w 83602"/>
                  <a:gd name="connsiteY6" fmla="*/ 41801 h 83602"/>
                  <a:gd name="connsiteX7" fmla="*/ 41801 w 83602"/>
                  <a:gd name="connsiteY7" fmla="*/ 73723 h 83602"/>
                  <a:gd name="connsiteX8" fmla="*/ 73723 w 83602"/>
                  <a:gd name="connsiteY8" fmla="*/ 41801 h 83602"/>
                  <a:gd name="connsiteX9" fmla="*/ 41801 w 83602"/>
                  <a:gd name="connsiteY9" fmla="*/ 9879 h 83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602" h="83602">
                    <a:moveTo>
                      <a:pt x="41801" y="83602"/>
                    </a:moveTo>
                    <a:cubicBezTo>
                      <a:pt x="18759" y="83602"/>
                      <a:pt x="0" y="64843"/>
                      <a:pt x="0" y="41801"/>
                    </a:cubicBezTo>
                    <a:cubicBezTo>
                      <a:pt x="0" y="18759"/>
                      <a:pt x="18759" y="0"/>
                      <a:pt x="41801" y="0"/>
                    </a:cubicBezTo>
                    <a:cubicBezTo>
                      <a:pt x="64843" y="0"/>
                      <a:pt x="83602" y="18759"/>
                      <a:pt x="83602" y="41801"/>
                    </a:cubicBezTo>
                    <a:cubicBezTo>
                      <a:pt x="83602" y="64843"/>
                      <a:pt x="64872" y="83602"/>
                      <a:pt x="41801" y="83602"/>
                    </a:cubicBezTo>
                    <a:close/>
                    <a:moveTo>
                      <a:pt x="41801" y="9879"/>
                    </a:moveTo>
                    <a:cubicBezTo>
                      <a:pt x="24213" y="9879"/>
                      <a:pt x="9908" y="24184"/>
                      <a:pt x="9908" y="41801"/>
                    </a:cubicBezTo>
                    <a:cubicBezTo>
                      <a:pt x="9908" y="59390"/>
                      <a:pt x="24213" y="73723"/>
                      <a:pt x="41801" y="73723"/>
                    </a:cubicBezTo>
                    <a:cubicBezTo>
                      <a:pt x="59390" y="73723"/>
                      <a:pt x="73723" y="59418"/>
                      <a:pt x="73723" y="41801"/>
                    </a:cubicBezTo>
                    <a:cubicBezTo>
                      <a:pt x="73723" y="24184"/>
                      <a:pt x="59390" y="9879"/>
                      <a:pt x="41801" y="9879"/>
                    </a:cubicBezTo>
                    <a:close/>
                  </a:path>
                </a:pathLst>
              </a:custGeom>
              <a:grpFill/>
              <a:ln w="2851" cap="flat">
                <a:no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52" name="Freihandform: Form 293">
                <a:extLst>
                  <a:ext uri="{FF2B5EF4-FFF2-40B4-BE49-F238E27FC236}">
                    <a16:creationId xmlns:a16="http://schemas.microsoft.com/office/drawing/2014/main" id="{096E3C8F-2F0C-1B4E-7E28-330A31D78780}"/>
                  </a:ext>
                </a:extLst>
              </p:cNvPr>
              <p:cNvSpPr/>
              <p:nvPr/>
            </p:nvSpPr>
            <p:spPr>
              <a:xfrm>
                <a:off x="2147149" y="1686356"/>
                <a:ext cx="71040" cy="96785"/>
              </a:xfrm>
              <a:custGeom>
                <a:avLst/>
                <a:gdLst>
                  <a:gd name="connsiteX0" fmla="*/ 4960 w 71040"/>
                  <a:gd name="connsiteY0" fmla="*/ 96785 h 96785"/>
                  <a:gd name="connsiteX1" fmla="*/ 2447 w 71040"/>
                  <a:gd name="connsiteY1" fmla="*/ 96100 h 96785"/>
                  <a:gd name="connsiteX2" fmla="*/ 20 w 71040"/>
                  <a:gd name="connsiteY2" fmla="*/ 91360 h 96785"/>
                  <a:gd name="connsiteX3" fmla="*/ 5074 w 71040"/>
                  <a:gd name="connsiteY3" fmla="*/ 38338 h 96785"/>
                  <a:gd name="connsiteX4" fmla="*/ 7244 w 71040"/>
                  <a:gd name="connsiteY4" fmla="*/ 34711 h 96785"/>
                  <a:gd name="connsiteX5" fmla="*/ 57497 w 71040"/>
                  <a:gd name="connsiteY5" fmla="*/ 848 h 96785"/>
                  <a:gd name="connsiteX6" fmla="*/ 62293 w 71040"/>
                  <a:gd name="connsiteY6" fmla="*/ 448 h 96785"/>
                  <a:gd name="connsiteX7" fmla="*/ 65177 w 71040"/>
                  <a:gd name="connsiteY7" fmla="*/ 4331 h 96785"/>
                  <a:gd name="connsiteX8" fmla="*/ 71002 w 71040"/>
                  <a:gd name="connsiteY8" fmla="*/ 49131 h 96785"/>
                  <a:gd name="connsiteX9" fmla="*/ 68889 w 71040"/>
                  <a:gd name="connsiteY9" fmla="*/ 53842 h 96785"/>
                  <a:gd name="connsiteX10" fmla="*/ 7758 w 71040"/>
                  <a:gd name="connsiteY10" fmla="*/ 95900 h 96785"/>
                  <a:gd name="connsiteX11" fmla="*/ 4960 w 71040"/>
                  <a:gd name="connsiteY11" fmla="*/ 96785 h 96785"/>
                  <a:gd name="connsiteX12" fmla="*/ 14725 w 71040"/>
                  <a:gd name="connsiteY12" fmla="*/ 41621 h 96785"/>
                  <a:gd name="connsiteX13" fmla="*/ 10899 w 71040"/>
                  <a:gd name="connsiteY13" fmla="*/ 81738 h 96785"/>
                  <a:gd name="connsiteX14" fmla="*/ 60809 w 71040"/>
                  <a:gd name="connsiteY14" fmla="*/ 47417 h 96785"/>
                  <a:gd name="connsiteX15" fmla="*/ 56412 w 71040"/>
                  <a:gd name="connsiteY15" fmla="*/ 13554 h 96785"/>
                  <a:gd name="connsiteX16" fmla="*/ 14725 w 71040"/>
                  <a:gd name="connsiteY16" fmla="*/ 41621 h 9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040" h="96785">
                    <a:moveTo>
                      <a:pt x="4960" y="96785"/>
                    </a:moveTo>
                    <a:cubicBezTo>
                      <a:pt x="4103" y="96785"/>
                      <a:pt x="3218" y="96557"/>
                      <a:pt x="2447" y="96100"/>
                    </a:cubicBezTo>
                    <a:cubicBezTo>
                      <a:pt x="791" y="95129"/>
                      <a:pt x="-151" y="93273"/>
                      <a:pt x="20" y="91360"/>
                    </a:cubicBezTo>
                    <a:lnTo>
                      <a:pt x="5074" y="38338"/>
                    </a:lnTo>
                    <a:cubicBezTo>
                      <a:pt x="5217" y="36853"/>
                      <a:pt x="6016" y="35539"/>
                      <a:pt x="7244" y="34711"/>
                    </a:cubicBezTo>
                    <a:lnTo>
                      <a:pt x="57497" y="848"/>
                    </a:lnTo>
                    <a:cubicBezTo>
                      <a:pt x="58924" y="-123"/>
                      <a:pt x="60723" y="-266"/>
                      <a:pt x="62293" y="448"/>
                    </a:cubicBezTo>
                    <a:cubicBezTo>
                      <a:pt x="63864" y="1162"/>
                      <a:pt x="64949" y="2618"/>
                      <a:pt x="65177" y="4331"/>
                    </a:cubicBezTo>
                    <a:lnTo>
                      <a:pt x="71002" y="49131"/>
                    </a:lnTo>
                    <a:cubicBezTo>
                      <a:pt x="71230" y="50987"/>
                      <a:pt x="70431" y="52785"/>
                      <a:pt x="68889" y="53842"/>
                    </a:cubicBezTo>
                    <a:lnTo>
                      <a:pt x="7758" y="95900"/>
                    </a:lnTo>
                    <a:cubicBezTo>
                      <a:pt x="6930" y="96471"/>
                      <a:pt x="5930" y="96785"/>
                      <a:pt x="4960" y="96785"/>
                    </a:cubicBezTo>
                    <a:close/>
                    <a:moveTo>
                      <a:pt x="14725" y="41621"/>
                    </a:moveTo>
                    <a:lnTo>
                      <a:pt x="10899" y="81738"/>
                    </a:lnTo>
                    <a:lnTo>
                      <a:pt x="60809" y="47417"/>
                    </a:lnTo>
                    <a:lnTo>
                      <a:pt x="56412" y="13554"/>
                    </a:lnTo>
                    <a:lnTo>
                      <a:pt x="14725" y="41621"/>
                    </a:lnTo>
                    <a:close/>
                  </a:path>
                </a:pathLst>
              </a:custGeom>
              <a:grpFill/>
              <a:ln w="2851" cap="flat">
                <a:no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53" name="Freihandform: Form 294">
                <a:extLst>
                  <a:ext uri="{FF2B5EF4-FFF2-40B4-BE49-F238E27FC236}">
                    <a16:creationId xmlns:a16="http://schemas.microsoft.com/office/drawing/2014/main" id="{E290D3FF-E5DB-9E29-4450-435F9E6D5BE9}"/>
                  </a:ext>
                </a:extLst>
              </p:cNvPr>
              <p:cNvSpPr/>
              <p:nvPr/>
            </p:nvSpPr>
            <p:spPr>
              <a:xfrm>
                <a:off x="2146077" y="1731587"/>
                <a:ext cx="111996" cy="64773"/>
              </a:xfrm>
              <a:custGeom>
                <a:avLst/>
                <a:gdLst>
                  <a:gd name="connsiteX0" fmla="*/ 55828 w 111996"/>
                  <a:gd name="connsiteY0" fmla="*/ 64773 h 64773"/>
                  <a:gd name="connsiteX1" fmla="*/ 54514 w 111996"/>
                  <a:gd name="connsiteY1" fmla="*/ 64602 h 64773"/>
                  <a:gd name="connsiteX2" fmla="*/ 3662 w 111996"/>
                  <a:gd name="connsiteY2" fmla="*/ 50754 h 64773"/>
                  <a:gd name="connsiteX3" fmla="*/ 64 w 111996"/>
                  <a:gd name="connsiteY3" fmla="*/ 46756 h 64773"/>
                  <a:gd name="connsiteX4" fmla="*/ 2234 w 111996"/>
                  <a:gd name="connsiteY4" fmla="*/ 41845 h 64773"/>
                  <a:gd name="connsiteX5" fmla="*/ 64679 w 111996"/>
                  <a:gd name="connsiteY5" fmla="*/ 815 h 64773"/>
                  <a:gd name="connsiteX6" fmla="*/ 69733 w 111996"/>
                  <a:gd name="connsiteY6" fmla="*/ 587 h 64773"/>
                  <a:gd name="connsiteX7" fmla="*/ 109393 w 111996"/>
                  <a:gd name="connsiteY7" fmla="*/ 21944 h 64773"/>
                  <a:gd name="connsiteX8" fmla="*/ 111991 w 111996"/>
                  <a:gd name="connsiteY8" fmla="*/ 26084 h 64773"/>
                  <a:gd name="connsiteX9" fmla="*/ 109764 w 111996"/>
                  <a:gd name="connsiteY9" fmla="*/ 30424 h 64773"/>
                  <a:gd name="connsiteX10" fmla="*/ 58540 w 111996"/>
                  <a:gd name="connsiteY10" fmla="*/ 63945 h 64773"/>
                  <a:gd name="connsiteX11" fmla="*/ 55828 w 111996"/>
                  <a:gd name="connsiteY11" fmla="*/ 64773 h 64773"/>
                  <a:gd name="connsiteX12" fmla="*/ 16882 w 111996"/>
                  <a:gd name="connsiteY12" fmla="*/ 44073 h 64773"/>
                  <a:gd name="connsiteX13" fmla="*/ 55000 w 111996"/>
                  <a:gd name="connsiteY13" fmla="*/ 54466 h 64773"/>
                  <a:gd name="connsiteX14" fmla="*/ 97400 w 111996"/>
                  <a:gd name="connsiteY14" fmla="*/ 26712 h 64773"/>
                  <a:gd name="connsiteX15" fmla="*/ 67648 w 111996"/>
                  <a:gd name="connsiteY15" fmla="*/ 10694 h 64773"/>
                  <a:gd name="connsiteX16" fmla="*/ 16882 w 111996"/>
                  <a:gd name="connsiteY16" fmla="*/ 44073 h 6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996" h="64773">
                    <a:moveTo>
                      <a:pt x="55828" y="64773"/>
                    </a:moveTo>
                    <a:cubicBezTo>
                      <a:pt x="55399" y="64773"/>
                      <a:pt x="54942" y="64716"/>
                      <a:pt x="54514" y="64602"/>
                    </a:cubicBezTo>
                    <a:lnTo>
                      <a:pt x="3662" y="50754"/>
                    </a:lnTo>
                    <a:cubicBezTo>
                      <a:pt x="1777" y="50240"/>
                      <a:pt x="378" y="48669"/>
                      <a:pt x="64" y="46756"/>
                    </a:cubicBezTo>
                    <a:cubicBezTo>
                      <a:pt x="-250" y="44843"/>
                      <a:pt x="607" y="42902"/>
                      <a:pt x="2234" y="41845"/>
                    </a:cubicBezTo>
                    <a:lnTo>
                      <a:pt x="64679" y="815"/>
                    </a:lnTo>
                    <a:cubicBezTo>
                      <a:pt x="66192" y="-184"/>
                      <a:pt x="68134" y="-270"/>
                      <a:pt x="69733" y="587"/>
                    </a:cubicBezTo>
                    <a:lnTo>
                      <a:pt x="109393" y="21944"/>
                    </a:lnTo>
                    <a:cubicBezTo>
                      <a:pt x="110934" y="22772"/>
                      <a:pt x="111905" y="24343"/>
                      <a:pt x="111991" y="26084"/>
                    </a:cubicBezTo>
                    <a:cubicBezTo>
                      <a:pt x="112076" y="27826"/>
                      <a:pt x="111220" y="29482"/>
                      <a:pt x="109764" y="30424"/>
                    </a:cubicBezTo>
                    <a:lnTo>
                      <a:pt x="58540" y="63945"/>
                    </a:lnTo>
                    <a:cubicBezTo>
                      <a:pt x="57741" y="64488"/>
                      <a:pt x="56798" y="64773"/>
                      <a:pt x="55828" y="64773"/>
                    </a:cubicBezTo>
                    <a:close/>
                    <a:moveTo>
                      <a:pt x="16882" y="44073"/>
                    </a:moveTo>
                    <a:lnTo>
                      <a:pt x="55000" y="54466"/>
                    </a:lnTo>
                    <a:lnTo>
                      <a:pt x="97400" y="26712"/>
                    </a:lnTo>
                    <a:lnTo>
                      <a:pt x="67648" y="10694"/>
                    </a:lnTo>
                    <a:lnTo>
                      <a:pt x="16882" y="44073"/>
                    </a:lnTo>
                    <a:close/>
                  </a:path>
                </a:pathLst>
              </a:custGeom>
              <a:grpFill/>
              <a:ln w="2851" cap="flat">
                <a:no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54" name="Freihandform: Form 295">
                <a:extLst>
                  <a:ext uri="{FF2B5EF4-FFF2-40B4-BE49-F238E27FC236}">
                    <a16:creationId xmlns:a16="http://schemas.microsoft.com/office/drawing/2014/main" id="{2B8D4F4D-C7CB-00E2-358C-9E066DF47A87}"/>
                  </a:ext>
                </a:extLst>
              </p:cNvPr>
              <p:cNvSpPr/>
              <p:nvPr/>
            </p:nvSpPr>
            <p:spPr>
              <a:xfrm>
                <a:off x="2002714" y="1711723"/>
                <a:ext cx="244425" cy="167697"/>
              </a:xfrm>
              <a:custGeom>
                <a:avLst/>
                <a:gdLst>
                  <a:gd name="connsiteX0" fmla="*/ 4947 w 244425"/>
                  <a:gd name="connsiteY0" fmla="*/ 167697 h 167697"/>
                  <a:gd name="connsiteX1" fmla="*/ 835 w 244425"/>
                  <a:gd name="connsiteY1" fmla="*/ 165499 h 167697"/>
                  <a:gd name="connsiteX2" fmla="*/ 2177 w 244425"/>
                  <a:gd name="connsiteY2" fmla="*/ 158646 h 167697"/>
                  <a:gd name="connsiteX3" fmla="*/ 236738 w 244425"/>
                  <a:gd name="connsiteY3" fmla="*/ 835 h 167697"/>
                  <a:gd name="connsiteX4" fmla="*/ 243590 w 244425"/>
                  <a:gd name="connsiteY4" fmla="*/ 2177 h 167697"/>
                  <a:gd name="connsiteX5" fmla="*/ 242248 w 244425"/>
                  <a:gd name="connsiteY5" fmla="*/ 9030 h 167697"/>
                  <a:gd name="connsiteX6" fmla="*/ 7688 w 244425"/>
                  <a:gd name="connsiteY6" fmla="*/ 166869 h 167697"/>
                  <a:gd name="connsiteX7" fmla="*/ 4947 w 244425"/>
                  <a:gd name="connsiteY7" fmla="*/ 167697 h 16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425" h="167697">
                    <a:moveTo>
                      <a:pt x="4947" y="167697"/>
                    </a:moveTo>
                    <a:cubicBezTo>
                      <a:pt x="3348" y="167697"/>
                      <a:pt x="1806" y="166926"/>
                      <a:pt x="835" y="165499"/>
                    </a:cubicBezTo>
                    <a:cubicBezTo>
                      <a:pt x="-678" y="163243"/>
                      <a:pt x="-78" y="160159"/>
                      <a:pt x="2177" y="158646"/>
                    </a:cubicBezTo>
                    <a:lnTo>
                      <a:pt x="236738" y="835"/>
                    </a:lnTo>
                    <a:cubicBezTo>
                      <a:pt x="238993" y="-678"/>
                      <a:pt x="242077" y="-79"/>
                      <a:pt x="243590" y="2177"/>
                    </a:cubicBezTo>
                    <a:cubicBezTo>
                      <a:pt x="245104" y="4433"/>
                      <a:pt x="244504" y="7517"/>
                      <a:pt x="242248" y="9030"/>
                    </a:cubicBezTo>
                    <a:lnTo>
                      <a:pt x="7688" y="166869"/>
                    </a:lnTo>
                    <a:cubicBezTo>
                      <a:pt x="6860" y="167440"/>
                      <a:pt x="5889" y="167697"/>
                      <a:pt x="4947" y="167697"/>
                    </a:cubicBezTo>
                    <a:close/>
                  </a:path>
                </a:pathLst>
              </a:custGeom>
              <a:grpFill/>
              <a:ln w="2851" cap="flat">
                <a:noFill/>
                <a:prstDash val="solid"/>
                <a:miter/>
              </a:ln>
            </p:spPr>
            <p:txBody>
              <a:bodyPr rtlCol="0" anchor="ctr"/>
              <a:lstStyle/>
              <a:p>
                <a:pPr defTabSz="914354">
                  <a:defRPr/>
                </a:pPr>
                <a:endParaRPr lang="en-GB">
                  <a:solidFill>
                    <a:prstClr val="black"/>
                  </a:solidFill>
                  <a:latin typeface="Arial"/>
                  <a:ea typeface="Arial Unicode MS"/>
                  <a:cs typeface="Arial"/>
                </a:endParaRPr>
              </a:p>
            </p:txBody>
          </p:sp>
        </p:grpSp>
        <p:sp>
          <p:nvSpPr>
            <p:cNvPr id="45" name="Freihandform: Form 296">
              <a:extLst>
                <a:ext uri="{FF2B5EF4-FFF2-40B4-BE49-F238E27FC236}">
                  <a16:creationId xmlns:a16="http://schemas.microsoft.com/office/drawing/2014/main" id="{5406E6E3-AFE4-D4B8-FC80-E4FEE8EDEBBF}"/>
                </a:ext>
              </a:extLst>
            </p:cNvPr>
            <p:cNvSpPr/>
            <p:nvPr/>
          </p:nvSpPr>
          <p:spPr>
            <a:xfrm>
              <a:off x="4597312" y="1083912"/>
              <a:ext cx="12494" cy="151420"/>
            </a:xfrm>
            <a:custGeom>
              <a:avLst/>
              <a:gdLst>
                <a:gd name="connsiteX0" fmla="*/ 4940 w 9879"/>
                <a:gd name="connsiteY0" fmla="*/ 119721 h 119721"/>
                <a:gd name="connsiteX1" fmla="*/ 0 w 9879"/>
                <a:gd name="connsiteY1" fmla="*/ 114782 h 119721"/>
                <a:gd name="connsiteX2" fmla="*/ 0 w 9879"/>
                <a:gd name="connsiteY2" fmla="*/ 4940 h 119721"/>
                <a:gd name="connsiteX3" fmla="*/ 4940 w 9879"/>
                <a:gd name="connsiteY3" fmla="*/ 0 h 119721"/>
                <a:gd name="connsiteX4" fmla="*/ 9879 w 9879"/>
                <a:gd name="connsiteY4" fmla="*/ 4940 h 119721"/>
                <a:gd name="connsiteX5" fmla="*/ 9879 w 9879"/>
                <a:gd name="connsiteY5" fmla="*/ 114753 h 119721"/>
                <a:gd name="connsiteX6" fmla="*/ 4940 w 9879"/>
                <a:gd name="connsiteY6" fmla="*/ 119721 h 11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119721">
                  <a:moveTo>
                    <a:pt x="4940" y="119721"/>
                  </a:moveTo>
                  <a:cubicBezTo>
                    <a:pt x="2199" y="119721"/>
                    <a:pt x="0" y="117494"/>
                    <a:pt x="0" y="114782"/>
                  </a:cubicBezTo>
                  <a:lnTo>
                    <a:pt x="0" y="4940"/>
                  </a:lnTo>
                  <a:cubicBezTo>
                    <a:pt x="0" y="2199"/>
                    <a:pt x="2227" y="0"/>
                    <a:pt x="4940" y="0"/>
                  </a:cubicBezTo>
                  <a:cubicBezTo>
                    <a:pt x="7652" y="0"/>
                    <a:pt x="9879" y="2227"/>
                    <a:pt x="9879" y="4940"/>
                  </a:cubicBezTo>
                  <a:lnTo>
                    <a:pt x="9879" y="114753"/>
                  </a:lnTo>
                  <a:cubicBezTo>
                    <a:pt x="9908" y="117494"/>
                    <a:pt x="7681" y="119721"/>
                    <a:pt x="4940" y="119721"/>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46" name="Freihandform: Form 297">
              <a:extLst>
                <a:ext uri="{FF2B5EF4-FFF2-40B4-BE49-F238E27FC236}">
                  <a16:creationId xmlns:a16="http://schemas.microsoft.com/office/drawing/2014/main" id="{527A5143-54DD-EC0A-74ED-CA83A468EA58}"/>
                </a:ext>
              </a:extLst>
            </p:cNvPr>
            <p:cNvSpPr/>
            <p:nvPr/>
          </p:nvSpPr>
          <p:spPr>
            <a:xfrm>
              <a:off x="4597312" y="1396649"/>
              <a:ext cx="12494" cy="160809"/>
            </a:xfrm>
            <a:custGeom>
              <a:avLst/>
              <a:gdLst>
                <a:gd name="connsiteX0" fmla="*/ 4940 w 9879"/>
                <a:gd name="connsiteY0" fmla="*/ 127145 h 127145"/>
                <a:gd name="connsiteX1" fmla="*/ 0 w 9879"/>
                <a:gd name="connsiteY1" fmla="*/ 122206 h 127145"/>
                <a:gd name="connsiteX2" fmla="*/ 0 w 9879"/>
                <a:gd name="connsiteY2" fmla="*/ 4940 h 127145"/>
                <a:gd name="connsiteX3" fmla="*/ 4940 w 9879"/>
                <a:gd name="connsiteY3" fmla="*/ 0 h 127145"/>
                <a:gd name="connsiteX4" fmla="*/ 9879 w 9879"/>
                <a:gd name="connsiteY4" fmla="*/ 4940 h 127145"/>
                <a:gd name="connsiteX5" fmla="*/ 9879 w 9879"/>
                <a:gd name="connsiteY5" fmla="*/ 122206 h 127145"/>
                <a:gd name="connsiteX6" fmla="*/ 4940 w 9879"/>
                <a:gd name="connsiteY6" fmla="*/ 127145 h 12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127145">
                  <a:moveTo>
                    <a:pt x="4940" y="127145"/>
                  </a:moveTo>
                  <a:cubicBezTo>
                    <a:pt x="2199" y="127145"/>
                    <a:pt x="0" y="124918"/>
                    <a:pt x="0" y="122206"/>
                  </a:cubicBezTo>
                  <a:lnTo>
                    <a:pt x="0" y="4940"/>
                  </a:lnTo>
                  <a:cubicBezTo>
                    <a:pt x="0" y="2199"/>
                    <a:pt x="2227" y="0"/>
                    <a:pt x="4940" y="0"/>
                  </a:cubicBezTo>
                  <a:cubicBezTo>
                    <a:pt x="7652" y="0"/>
                    <a:pt x="9879" y="2227"/>
                    <a:pt x="9879" y="4940"/>
                  </a:cubicBezTo>
                  <a:lnTo>
                    <a:pt x="9879" y="122206"/>
                  </a:lnTo>
                  <a:cubicBezTo>
                    <a:pt x="9908" y="124918"/>
                    <a:pt x="7681" y="127145"/>
                    <a:pt x="4940" y="127145"/>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47" name="Freihandform: Form 298">
              <a:extLst>
                <a:ext uri="{FF2B5EF4-FFF2-40B4-BE49-F238E27FC236}">
                  <a16:creationId xmlns:a16="http://schemas.microsoft.com/office/drawing/2014/main" id="{B70AB0AC-482C-FAF6-D8A1-B27CF8385DBB}"/>
                </a:ext>
              </a:extLst>
            </p:cNvPr>
            <p:cNvSpPr/>
            <p:nvPr/>
          </p:nvSpPr>
          <p:spPr>
            <a:xfrm>
              <a:off x="4370381" y="1311568"/>
              <a:ext cx="155681" cy="12495"/>
            </a:xfrm>
            <a:custGeom>
              <a:avLst/>
              <a:gdLst>
                <a:gd name="connsiteX0" fmla="*/ 118151 w 123090"/>
                <a:gd name="connsiteY0" fmla="*/ 9879 h 9879"/>
                <a:gd name="connsiteX1" fmla="*/ 4940 w 123090"/>
                <a:gd name="connsiteY1" fmla="*/ 9879 h 9879"/>
                <a:gd name="connsiteX2" fmla="*/ 0 w 123090"/>
                <a:gd name="connsiteY2" fmla="*/ 4940 h 9879"/>
                <a:gd name="connsiteX3" fmla="*/ 4940 w 123090"/>
                <a:gd name="connsiteY3" fmla="*/ 0 h 9879"/>
                <a:gd name="connsiteX4" fmla="*/ 118151 w 123090"/>
                <a:gd name="connsiteY4" fmla="*/ 0 h 9879"/>
                <a:gd name="connsiteX5" fmla="*/ 123091 w 123090"/>
                <a:gd name="connsiteY5" fmla="*/ 4940 h 9879"/>
                <a:gd name="connsiteX6" fmla="*/ 118151 w 123090"/>
                <a:gd name="connsiteY6" fmla="*/ 9879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090" h="9879">
                  <a:moveTo>
                    <a:pt x="118151" y="9879"/>
                  </a:moveTo>
                  <a:lnTo>
                    <a:pt x="4940" y="9879"/>
                  </a:lnTo>
                  <a:cubicBezTo>
                    <a:pt x="2199" y="9879"/>
                    <a:pt x="0" y="7652"/>
                    <a:pt x="0" y="4940"/>
                  </a:cubicBezTo>
                  <a:cubicBezTo>
                    <a:pt x="0" y="2199"/>
                    <a:pt x="2227" y="0"/>
                    <a:pt x="4940" y="0"/>
                  </a:cubicBezTo>
                  <a:lnTo>
                    <a:pt x="118151" y="0"/>
                  </a:lnTo>
                  <a:cubicBezTo>
                    <a:pt x="120892" y="0"/>
                    <a:pt x="123091" y="2227"/>
                    <a:pt x="123091" y="4940"/>
                  </a:cubicBezTo>
                  <a:cubicBezTo>
                    <a:pt x="123119" y="7681"/>
                    <a:pt x="120892" y="9879"/>
                    <a:pt x="118151" y="9879"/>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48" name="Freihandform: Form 299">
              <a:extLst>
                <a:ext uri="{FF2B5EF4-FFF2-40B4-BE49-F238E27FC236}">
                  <a16:creationId xmlns:a16="http://schemas.microsoft.com/office/drawing/2014/main" id="{3826198E-5974-F0E9-E906-12F2FD7B40E3}"/>
                </a:ext>
              </a:extLst>
            </p:cNvPr>
            <p:cNvSpPr/>
            <p:nvPr/>
          </p:nvSpPr>
          <p:spPr>
            <a:xfrm>
              <a:off x="4679830" y="1311568"/>
              <a:ext cx="159328" cy="12495"/>
            </a:xfrm>
            <a:custGeom>
              <a:avLst/>
              <a:gdLst>
                <a:gd name="connsiteX0" fmla="*/ 121035 w 125974"/>
                <a:gd name="connsiteY0" fmla="*/ 9879 h 9879"/>
                <a:gd name="connsiteX1" fmla="*/ 4940 w 125974"/>
                <a:gd name="connsiteY1" fmla="*/ 9879 h 9879"/>
                <a:gd name="connsiteX2" fmla="*/ 0 w 125974"/>
                <a:gd name="connsiteY2" fmla="*/ 4940 h 9879"/>
                <a:gd name="connsiteX3" fmla="*/ 4940 w 125974"/>
                <a:gd name="connsiteY3" fmla="*/ 0 h 9879"/>
                <a:gd name="connsiteX4" fmla="*/ 121035 w 125974"/>
                <a:gd name="connsiteY4" fmla="*/ 0 h 9879"/>
                <a:gd name="connsiteX5" fmla="*/ 125975 w 125974"/>
                <a:gd name="connsiteY5" fmla="*/ 4940 h 9879"/>
                <a:gd name="connsiteX6" fmla="*/ 121035 w 125974"/>
                <a:gd name="connsiteY6" fmla="*/ 9879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974" h="9879">
                  <a:moveTo>
                    <a:pt x="121035" y="9879"/>
                  </a:moveTo>
                  <a:lnTo>
                    <a:pt x="4940" y="9879"/>
                  </a:lnTo>
                  <a:cubicBezTo>
                    <a:pt x="2199" y="9879"/>
                    <a:pt x="0" y="7652"/>
                    <a:pt x="0" y="4940"/>
                  </a:cubicBezTo>
                  <a:cubicBezTo>
                    <a:pt x="0" y="2199"/>
                    <a:pt x="2227" y="0"/>
                    <a:pt x="4940" y="0"/>
                  </a:cubicBezTo>
                  <a:lnTo>
                    <a:pt x="121035" y="0"/>
                  </a:lnTo>
                  <a:cubicBezTo>
                    <a:pt x="123776" y="0"/>
                    <a:pt x="125975" y="2227"/>
                    <a:pt x="125975" y="4940"/>
                  </a:cubicBezTo>
                  <a:cubicBezTo>
                    <a:pt x="125975" y="7681"/>
                    <a:pt x="123747" y="9879"/>
                    <a:pt x="121035" y="9879"/>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49" name="Freeform: Shape 596">
              <a:extLst>
                <a:ext uri="{FF2B5EF4-FFF2-40B4-BE49-F238E27FC236}">
                  <a16:creationId xmlns:a16="http://schemas.microsoft.com/office/drawing/2014/main" id="{88DFFF41-F519-3043-A1ED-998A29352C82}"/>
                </a:ext>
              </a:extLst>
            </p:cNvPr>
            <p:cNvSpPr/>
            <p:nvPr/>
          </p:nvSpPr>
          <p:spPr>
            <a:xfrm>
              <a:off x="4488181" y="1199327"/>
              <a:ext cx="231987" cy="231987"/>
            </a:xfrm>
            <a:custGeom>
              <a:avLst/>
              <a:gdLst>
                <a:gd name="connsiteX0" fmla="*/ 113674 w 225978"/>
                <a:gd name="connsiteY0" fmla="*/ 227348 h 225978"/>
                <a:gd name="connsiteX1" fmla="*/ 0 w 225978"/>
                <a:gd name="connsiteY1" fmla="*/ 113674 h 225978"/>
                <a:gd name="connsiteX2" fmla="*/ 113674 w 225978"/>
                <a:gd name="connsiteY2" fmla="*/ 0 h 225978"/>
                <a:gd name="connsiteX3" fmla="*/ 227348 w 225978"/>
                <a:gd name="connsiteY3" fmla="*/ 113674 h 225978"/>
                <a:gd name="connsiteX4" fmla="*/ 113674 w 225978"/>
                <a:gd name="connsiteY4" fmla="*/ 227348 h 225978"/>
                <a:gd name="connsiteX5" fmla="*/ 113674 w 225978"/>
                <a:gd name="connsiteY5" fmla="*/ 10272 h 225978"/>
                <a:gd name="connsiteX6" fmla="*/ 10272 w 225978"/>
                <a:gd name="connsiteY6" fmla="*/ 113674 h 225978"/>
                <a:gd name="connsiteX7" fmla="*/ 113674 w 225978"/>
                <a:gd name="connsiteY7" fmla="*/ 217076 h 225978"/>
                <a:gd name="connsiteX8" fmla="*/ 217076 w 225978"/>
                <a:gd name="connsiteY8" fmla="*/ 113674 h 225978"/>
                <a:gd name="connsiteX9" fmla="*/ 113674 w 225978"/>
                <a:gd name="connsiteY9" fmla="*/ 10272 h 22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978" h="225978">
                  <a:moveTo>
                    <a:pt x="113674" y="227348"/>
                  </a:moveTo>
                  <a:cubicBezTo>
                    <a:pt x="51359" y="227348"/>
                    <a:pt x="0" y="176674"/>
                    <a:pt x="0" y="113674"/>
                  </a:cubicBezTo>
                  <a:cubicBezTo>
                    <a:pt x="0" y="51359"/>
                    <a:pt x="50674" y="0"/>
                    <a:pt x="113674" y="0"/>
                  </a:cubicBezTo>
                  <a:cubicBezTo>
                    <a:pt x="175989" y="0"/>
                    <a:pt x="227348" y="50674"/>
                    <a:pt x="227348" y="113674"/>
                  </a:cubicBezTo>
                  <a:cubicBezTo>
                    <a:pt x="227348" y="175989"/>
                    <a:pt x="175989" y="227348"/>
                    <a:pt x="113674" y="227348"/>
                  </a:cubicBezTo>
                  <a:close/>
                  <a:moveTo>
                    <a:pt x="113674" y="10272"/>
                  </a:moveTo>
                  <a:cubicBezTo>
                    <a:pt x="56837" y="10272"/>
                    <a:pt x="10272" y="56837"/>
                    <a:pt x="10272" y="113674"/>
                  </a:cubicBezTo>
                  <a:cubicBezTo>
                    <a:pt x="10272" y="170511"/>
                    <a:pt x="56837" y="217076"/>
                    <a:pt x="113674" y="217076"/>
                  </a:cubicBezTo>
                  <a:cubicBezTo>
                    <a:pt x="170511" y="217076"/>
                    <a:pt x="217076" y="170511"/>
                    <a:pt x="217076" y="113674"/>
                  </a:cubicBezTo>
                  <a:cubicBezTo>
                    <a:pt x="217076" y="56837"/>
                    <a:pt x="170511" y="10272"/>
                    <a:pt x="113674" y="10272"/>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sp>
          <p:nvSpPr>
            <p:cNvPr id="50" name="Freeform: Shape 596">
              <a:extLst>
                <a:ext uri="{FF2B5EF4-FFF2-40B4-BE49-F238E27FC236}">
                  <a16:creationId xmlns:a16="http://schemas.microsoft.com/office/drawing/2014/main" id="{2BF91200-EBD2-5426-CD8A-12F379BE45B0}"/>
                </a:ext>
              </a:extLst>
            </p:cNvPr>
            <p:cNvSpPr/>
            <p:nvPr/>
          </p:nvSpPr>
          <p:spPr>
            <a:xfrm>
              <a:off x="4412020" y="1125720"/>
              <a:ext cx="383833" cy="383833"/>
            </a:xfrm>
            <a:custGeom>
              <a:avLst/>
              <a:gdLst>
                <a:gd name="connsiteX0" fmla="*/ 113674 w 225978"/>
                <a:gd name="connsiteY0" fmla="*/ 227348 h 225978"/>
                <a:gd name="connsiteX1" fmla="*/ 0 w 225978"/>
                <a:gd name="connsiteY1" fmla="*/ 113674 h 225978"/>
                <a:gd name="connsiteX2" fmla="*/ 113674 w 225978"/>
                <a:gd name="connsiteY2" fmla="*/ 0 h 225978"/>
                <a:gd name="connsiteX3" fmla="*/ 227348 w 225978"/>
                <a:gd name="connsiteY3" fmla="*/ 113674 h 225978"/>
                <a:gd name="connsiteX4" fmla="*/ 113674 w 225978"/>
                <a:gd name="connsiteY4" fmla="*/ 227348 h 225978"/>
                <a:gd name="connsiteX5" fmla="*/ 113674 w 225978"/>
                <a:gd name="connsiteY5" fmla="*/ 10272 h 225978"/>
                <a:gd name="connsiteX6" fmla="*/ 10272 w 225978"/>
                <a:gd name="connsiteY6" fmla="*/ 113674 h 225978"/>
                <a:gd name="connsiteX7" fmla="*/ 113674 w 225978"/>
                <a:gd name="connsiteY7" fmla="*/ 217076 h 225978"/>
                <a:gd name="connsiteX8" fmla="*/ 217076 w 225978"/>
                <a:gd name="connsiteY8" fmla="*/ 113674 h 225978"/>
                <a:gd name="connsiteX9" fmla="*/ 113674 w 225978"/>
                <a:gd name="connsiteY9" fmla="*/ 10272 h 22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978" h="225978">
                  <a:moveTo>
                    <a:pt x="113674" y="227348"/>
                  </a:moveTo>
                  <a:cubicBezTo>
                    <a:pt x="51359" y="227348"/>
                    <a:pt x="0" y="176674"/>
                    <a:pt x="0" y="113674"/>
                  </a:cubicBezTo>
                  <a:cubicBezTo>
                    <a:pt x="0" y="51359"/>
                    <a:pt x="50674" y="0"/>
                    <a:pt x="113674" y="0"/>
                  </a:cubicBezTo>
                  <a:cubicBezTo>
                    <a:pt x="175989" y="0"/>
                    <a:pt x="227348" y="50674"/>
                    <a:pt x="227348" y="113674"/>
                  </a:cubicBezTo>
                  <a:cubicBezTo>
                    <a:pt x="227348" y="175989"/>
                    <a:pt x="175989" y="227348"/>
                    <a:pt x="113674" y="227348"/>
                  </a:cubicBezTo>
                  <a:close/>
                  <a:moveTo>
                    <a:pt x="113674" y="10272"/>
                  </a:moveTo>
                  <a:cubicBezTo>
                    <a:pt x="56837" y="10272"/>
                    <a:pt x="10272" y="56837"/>
                    <a:pt x="10272" y="113674"/>
                  </a:cubicBezTo>
                  <a:cubicBezTo>
                    <a:pt x="10272" y="170511"/>
                    <a:pt x="56837" y="217076"/>
                    <a:pt x="113674" y="217076"/>
                  </a:cubicBezTo>
                  <a:cubicBezTo>
                    <a:pt x="170511" y="217076"/>
                    <a:pt x="217076" y="170511"/>
                    <a:pt x="217076" y="113674"/>
                  </a:cubicBezTo>
                  <a:cubicBezTo>
                    <a:pt x="217076" y="56837"/>
                    <a:pt x="170511" y="10272"/>
                    <a:pt x="113674" y="10272"/>
                  </a:cubicBezTo>
                  <a:close/>
                </a:path>
              </a:pathLst>
            </a:custGeom>
            <a:solidFill>
              <a:schemeClr val="tx2"/>
            </a:solidFill>
            <a:ln w="2851" cap="flat">
              <a:solidFill>
                <a:srgbClr val="FFFFFF"/>
              </a:solidFill>
              <a:prstDash val="solid"/>
              <a:miter/>
            </a:ln>
          </p:spPr>
          <p:txBody>
            <a:bodyPr rtlCol="0" anchor="ctr"/>
            <a:lstStyle/>
            <a:p>
              <a:pPr defTabSz="914354">
                <a:defRPr/>
              </a:pPr>
              <a:endParaRPr lang="en-GB">
                <a:solidFill>
                  <a:prstClr val="black"/>
                </a:solidFill>
                <a:latin typeface="Arial"/>
                <a:ea typeface="Arial Unicode MS"/>
                <a:cs typeface="Arial"/>
              </a:endParaRPr>
            </a:p>
          </p:txBody>
        </p:sp>
      </p:grpSp>
      <p:sp>
        <p:nvSpPr>
          <p:cNvPr id="9" name="Title 4">
            <a:extLst>
              <a:ext uri="{FF2B5EF4-FFF2-40B4-BE49-F238E27FC236}">
                <a16:creationId xmlns:a16="http://schemas.microsoft.com/office/drawing/2014/main" id="{2EE1B889-AA8A-0DF8-FDEB-98428F59AD7B}"/>
              </a:ext>
            </a:extLst>
          </p:cNvPr>
          <p:cNvSpPr>
            <a:spLocks noGrp="1"/>
          </p:cNvSpPr>
          <p:nvPr>
            <p:ph type="title"/>
          </p:nvPr>
        </p:nvSpPr>
        <p:spPr>
          <a:xfrm>
            <a:off x="408000" y="480000"/>
            <a:ext cx="9024000" cy="816000"/>
          </a:xfrm>
        </p:spPr>
        <p:txBody>
          <a:bodyPr vert="horz"/>
          <a:lstStyle/>
          <a:p>
            <a:r>
              <a:rPr lang="en-GB" dirty="0">
                <a:solidFill>
                  <a:schemeClr val="tx1"/>
                </a:solidFill>
              </a:rPr>
              <a:t>Risk Assessment</a:t>
            </a:r>
            <a:br>
              <a:rPr lang="en-GB" dirty="0">
                <a:solidFill>
                  <a:srgbClr val="0066FF"/>
                </a:solidFill>
              </a:rPr>
            </a:br>
            <a:r>
              <a:rPr lang="en-GB" sz="2133" dirty="0">
                <a:solidFill>
                  <a:schemeClr val="bg1">
                    <a:lumMod val="50000"/>
                  </a:schemeClr>
                </a:solidFill>
              </a:rPr>
              <a:t>Defining constraints and desired properties</a:t>
            </a:r>
            <a:endParaRPr lang="en-GB" sz="1867" dirty="0">
              <a:solidFill>
                <a:schemeClr val="bg1">
                  <a:lumMod val="50000"/>
                </a:schemeClr>
              </a:solidFill>
            </a:endParaRPr>
          </a:p>
        </p:txBody>
      </p:sp>
    </p:spTree>
    <p:extLst>
      <p:ext uri="{BB962C8B-B14F-4D97-AF65-F5344CB8AC3E}">
        <p14:creationId xmlns:p14="http://schemas.microsoft.com/office/powerpoint/2010/main" val="371094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5" grpId="0" animBg="1"/>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95EFD9C-E3AC-4956-8864-3C11D0555DFF}"/>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95EFD9C-E3AC-4956-8864-3C11D0555DFF}"/>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9DD929D8-DCCA-427E-9C6E-4111CC3DA4BA}"/>
              </a:ext>
            </a:extLst>
          </p:cNvPr>
          <p:cNvSpPr>
            <a:spLocks noGrp="1"/>
          </p:cNvSpPr>
          <p:nvPr>
            <p:ph type="sldNum" sz="quarter" idx="11"/>
          </p:nvPr>
        </p:nvSpPr>
        <p:spPr/>
        <p:txBody>
          <a:bodyPr/>
          <a:lstStyle/>
          <a:p>
            <a:pPr defTabSz="914354"/>
            <a:fld id="{D94909C6-CC71-4962-A18E-AF0515723D95}" type="slidenum">
              <a:rPr lang="en-GB">
                <a:solidFill>
                  <a:srgbClr val="4D4E53"/>
                </a:solidFill>
                <a:latin typeface="Arial"/>
                <a:ea typeface="Arial Unicode MS"/>
                <a:cs typeface="Arial"/>
              </a:rPr>
              <a:pPr defTabSz="914354"/>
              <a:t>9</a:t>
            </a:fld>
            <a:endParaRPr lang="en-GB">
              <a:solidFill>
                <a:srgbClr val="4D4E53"/>
              </a:solidFill>
              <a:latin typeface="Arial"/>
              <a:ea typeface="Arial Unicode MS"/>
              <a:cs typeface="Arial"/>
            </a:endParaRPr>
          </a:p>
        </p:txBody>
      </p:sp>
      <p:sp>
        <p:nvSpPr>
          <p:cNvPr id="9" name="Title 4">
            <a:extLst>
              <a:ext uri="{FF2B5EF4-FFF2-40B4-BE49-F238E27FC236}">
                <a16:creationId xmlns:a16="http://schemas.microsoft.com/office/drawing/2014/main" id="{2EE1B889-AA8A-0DF8-FDEB-98428F59AD7B}"/>
              </a:ext>
            </a:extLst>
          </p:cNvPr>
          <p:cNvSpPr>
            <a:spLocks noGrp="1"/>
          </p:cNvSpPr>
          <p:nvPr>
            <p:ph type="title"/>
          </p:nvPr>
        </p:nvSpPr>
        <p:spPr>
          <a:xfrm>
            <a:off x="408000" y="480000"/>
            <a:ext cx="9024000" cy="816000"/>
          </a:xfrm>
        </p:spPr>
        <p:txBody>
          <a:bodyPr vert="horz"/>
          <a:lstStyle/>
          <a:p>
            <a:r>
              <a:rPr lang="en-US">
                <a:solidFill>
                  <a:schemeClr val="tx1"/>
                </a:solidFill>
              </a:rPr>
              <a:t>Computation of Failure Probability : Notation</a:t>
            </a:r>
            <a:br>
              <a:rPr lang="en-GB">
                <a:solidFill>
                  <a:srgbClr val="0066FF"/>
                </a:solidFill>
              </a:rPr>
            </a:br>
            <a:r>
              <a:rPr lang="en-GB" sz="2133">
                <a:solidFill>
                  <a:schemeClr val="bg1">
                    <a:lumMod val="50000"/>
                  </a:schemeClr>
                </a:solidFill>
              </a:rPr>
              <a:t>Mathematical formulation</a:t>
            </a:r>
            <a:endParaRPr lang="en-GB" sz="1867">
              <a:solidFill>
                <a:schemeClr val="bg1">
                  <a:lumMod val="50000"/>
                </a:schemeClr>
              </a:solidFill>
            </a:endParaRPr>
          </a:p>
        </p:txBody>
      </p:sp>
      <mc:AlternateContent xmlns:mc="http://schemas.openxmlformats.org/markup-compatibility/2006">
        <mc:Choice xmlns:a14="http://schemas.microsoft.com/office/drawing/2010/main" Requires="a14">
          <p:sp>
            <p:nvSpPr>
              <p:cNvPr id="81" name="TextBox 80">
                <a:extLst>
                  <a:ext uri="{FF2B5EF4-FFF2-40B4-BE49-F238E27FC236}">
                    <a16:creationId xmlns:a16="http://schemas.microsoft.com/office/drawing/2014/main" id="{47B5895D-CA36-5D0B-7E59-13D1E80BE94B}"/>
                  </a:ext>
                </a:extLst>
              </p:cNvPr>
              <p:cNvSpPr txBox="1"/>
              <p:nvPr/>
            </p:nvSpPr>
            <p:spPr>
              <a:xfrm>
                <a:off x="408000" y="2082900"/>
                <a:ext cx="9361033" cy="3351046"/>
              </a:xfrm>
              <a:prstGeom prst="rect">
                <a:avLst/>
              </a:prstGeom>
              <a:noFill/>
              <a:effectLst/>
            </p:spPr>
            <p:txBody>
              <a:bodyPr wrap="square" lIns="0" tIns="0" rIns="0" bIns="0" rtlCol="0">
                <a:spAutoFit/>
              </a:bodyPr>
              <a:lstStyle/>
              <a:p>
                <a:pPr marL="285750" indent="-285750">
                  <a:lnSpc>
                    <a:spcPct val="110000"/>
                  </a:lnSpc>
                  <a:buFont typeface="Arial" panose="020B0604020202020204" pitchFamily="34" charset="0"/>
                  <a:buChar char="•"/>
                </a:pPr>
                <a:r>
                  <a:rPr lang="en-GB" dirty="0">
                    <a:solidFill>
                      <a:schemeClr val="tx2"/>
                    </a:solidFill>
                  </a:rPr>
                  <a:t>Given data point, </a:t>
                </a:r>
                <a14:m>
                  <m:oMath xmlns:m="http://schemas.openxmlformats.org/officeDocument/2006/math">
                    <m:d>
                      <m:dPr>
                        <m:begChr m:val="{"/>
                        <m:endChr m:val="}"/>
                        <m:ctrlPr>
                          <a:rPr lang="en-GB" b="0" i="1" smtClean="0">
                            <a:solidFill>
                              <a:schemeClr val="tx2"/>
                            </a:solidFill>
                            <a:latin typeface="Cambria Math" panose="02040503050406030204" pitchFamily="18" charset="0"/>
                          </a:rPr>
                        </m:ctrlPr>
                      </m:dPr>
                      <m:e>
                        <m:d>
                          <m:dPr>
                            <m:ctrlPr>
                              <a:rPr lang="en-GB" b="0" i="1" smtClean="0">
                                <a:solidFill>
                                  <a:schemeClr val="tx2"/>
                                </a:solidFill>
                                <a:latin typeface="Cambria Math" panose="02040503050406030204" pitchFamily="18" charset="0"/>
                              </a:rPr>
                            </m:ctrlPr>
                          </m:dPr>
                          <m:e>
                            <m:sSub>
                              <m:sSubPr>
                                <m:ctrlPr>
                                  <a:rPr lang="en-GB" b="0"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𝑋</m:t>
                                </m:r>
                              </m:e>
                              <m:sub>
                                <m:r>
                                  <a:rPr lang="en-GB" b="0" i="1" smtClean="0">
                                    <a:solidFill>
                                      <a:schemeClr val="tx2"/>
                                    </a:solidFill>
                                    <a:latin typeface="Cambria Math" panose="02040503050406030204" pitchFamily="18" charset="0"/>
                                  </a:rPr>
                                  <m:t>𝑖</m:t>
                                </m:r>
                              </m:sub>
                            </m:sSub>
                            <m:r>
                              <a:rPr lang="en-GB" b="0" i="1" smtClean="0">
                                <a:solidFill>
                                  <a:schemeClr val="tx2"/>
                                </a:solidFill>
                                <a:latin typeface="Cambria Math" panose="02040503050406030204" pitchFamily="18" charset="0"/>
                              </a:rPr>
                              <m:t>,</m:t>
                            </m:r>
                            <m:sSub>
                              <m:sSubPr>
                                <m:ctrlPr>
                                  <a:rPr lang="en-GB" b="0"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𝑌</m:t>
                                </m:r>
                              </m:e>
                              <m:sub>
                                <m:r>
                                  <a:rPr lang="en-GB" b="0" i="1" smtClean="0">
                                    <a:solidFill>
                                      <a:schemeClr val="tx2"/>
                                    </a:solidFill>
                                    <a:latin typeface="Cambria Math" panose="02040503050406030204" pitchFamily="18" charset="0"/>
                                  </a:rPr>
                                  <m:t>𝑖</m:t>
                                </m:r>
                              </m:sub>
                            </m:sSub>
                          </m:e>
                        </m:d>
                      </m:e>
                    </m:d>
                  </m:oMath>
                </a14:m>
                <a:endParaRPr lang="en-GB" b="0" dirty="0">
                  <a:solidFill>
                    <a:schemeClr val="tx2"/>
                  </a:solidFill>
                </a:endParaRPr>
              </a:p>
              <a:p>
                <a:pPr marL="285750" indent="-285750">
                  <a:lnSpc>
                    <a:spcPct val="110000"/>
                  </a:lnSpc>
                  <a:buFont typeface="Arial" panose="020B0604020202020204" pitchFamily="34" charset="0"/>
                  <a:buChar char="•"/>
                </a:pPr>
                <a:endParaRPr lang="en-GB" dirty="0">
                  <a:solidFill>
                    <a:schemeClr val="tx2"/>
                  </a:solidFill>
                </a:endParaRPr>
              </a:p>
              <a:p>
                <a:pPr marL="285750" indent="-285750">
                  <a:lnSpc>
                    <a:spcPct val="110000"/>
                  </a:lnSpc>
                  <a:buFont typeface="Arial" panose="020B0604020202020204" pitchFamily="34" charset="0"/>
                  <a:buChar char="•"/>
                </a:pPr>
                <a:r>
                  <a:rPr lang="en-GB" dirty="0">
                    <a:solidFill>
                      <a:schemeClr val="tx2"/>
                    </a:solidFill>
                  </a:rPr>
                  <a:t>Model prediction of target: </a:t>
                </a:r>
                <a14:m>
                  <m:oMath xmlns:m="http://schemas.openxmlformats.org/officeDocument/2006/math">
                    <m:r>
                      <a:rPr lang="en-GB" i="1" smtClean="0">
                        <a:solidFill>
                          <a:schemeClr val="tx2"/>
                        </a:solidFill>
                        <a:latin typeface="Cambria Math" panose="02040503050406030204" pitchFamily="18" charset="0"/>
                        <a:ea typeface="Cambria Math" panose="02040503050406030204" pitchFamily="18" charset="0"/>
                      </a:rPr>
                      <m:t>𝜇</m:t>
                    </m:r>
                    <m:r>
                      <a:rPr lang="en-GB" b="0" i="1" smtClean="0">
                        <a:solidFill>
                          <a:schemeClr val="tx2"/>
                        </a:solidFill>
                        <a:latin typeface="Cambria Math" panose="02040503050406030204" pitchFamily="18" charset="0"/>
                        <a:ea typeface="Cambria Math" panose="02040503050406030204" pitchFamily="18" charset="0"/>
                      </a:rPr>
                      <m:t>(</m:t>
                    </m:r>
                    <m:sSub>
                      <m:sSubPr>
                        <m:ctrlPr>
                          <a:rPr lang="en-GB" b="0" i="1" smtClean="0">
                            <a:solidFill>
                              <a:schemeClr val="tx2"/>
                            </a:solidFill>
                            <a:latin typeface="Cambria Math" panose="02040503050406030204" pitchFamily="18" charset="0"/>
                            <a:ea typeface="Cambria Math" panose="02040503050406030204" pitchFamily="18" charset="0"/>
                          </a:rPr>
                        </m:ctrlPr>
                      </m:sSubPr>
                      <m:e>
                        <m:r>
                          <a:rPr lang="en-GB" b="0" i="1" smtClean="0">
                            <a:solidFill>
                              <a:schemeClr val="tx2"/>
                            </a:solidFill>
                            <a:latin typeface="Cambria Math" panose="02040503050406030204" pitchFamily="18" charset="0"/>
                            <a:ea typeface="Cambria Math" panose="02040503050406030204" pitchFamily="18" charset="0"/>
                          </a:rPr>
                          <m:t>𝑋</m:t>
                        </m:r>
                      </m:e>
                      <m:sub>
                        <m:r>
                          <a:rPr lang="en-GB" b="0" i="1" smtClean="0">
                            <a:solidFill>
                              <a:schemeClr val="tx2"/>
                            </a:solidFill>
                            <a:latin typeface="Cambria Math" panose="02040503050406030204" pitchFamily="18" charset="0"/>
                            <a:ea typeface="Cambria Math" panose="02040503050406030204" pitchFamily="18" charset="0"/>
                          </a:rPr>
                          <m:t>𝑖</m:t>
                        </m:r>
                      </m:sub>
                    </m:sSub>
                    <m:r>
                      <a:rPr lang="en-GB" b="0" i="1" smtClean="0">
                        <a:solidFill>
                          <a:schemeClr val="tx2"/>
                        </a:solidFill>
                        <a:latin typeface="Cambria Math" panose="02040503050406030204" pitchFamily="18" charset="0"/>
                        <a:ea typeface="Cambria Math" panose="02040503050406030204" pitchFamily="18" charset="0"/>
                      </a:rPr>
                      <m:t>)</m:t>
                    </m:r>
                  </m:oMath>
                </a14:m>
                <a:endParaRPr lang="en-GB" dirty="0">
                  <a:solidFill>
                    <a:schemeClr val="tx2"/>
                  </a:solidFill>
                </a:endParaRPr>
              </a:p>
              <a:p>
                <a:pPr marL="285750" indent="-285750">
                  <a:lnSpc>
                    <a:spcPct val="110000"/>
                  </a:lnSpc>
                  <a:buFont typeface="Arial" panose="020B0604020202020204" pitchFamily="34" charset="0"/>
                  <a:buChar char="•"/>
                </a:pPr>
                <a:endParaRPr lang="en-GB" dirty="0">
                  <a:solidFill>
                    <a:schemeClr val="tx2"/>
                  </a:solidFill>
                </a:endParaRPr>
              </a:p>
              <a:p>
                <a:pPr marL="285750" indent="-285750">
                  <a:lnSpc>
                    <a:spcPct val="110000"/>
                  </a:lnSpc>
                  <a:buFont typeface="Arial" panose="020B0604020202020204" pitchFamily="34" charset="0"/>
                  <a:buChar char="•"/>
                </a:pPr>
                <a:r>
                  <a:rPr lang="en-GB" dirty="0">
                    <a:solidFill>
                      <a:schemeClr val="tx2"/>
                    </a:solidFill>
                  </a:rPr>
                  <a:t>Risk tolerance: </a:t>
                </a:r>
                <a14:m>
                  <m:oMath xmlns:m="http://schemas.openxmlformats.org/officeDocument/2006/math">
                    <m:r>
                      <a:rPr lang="en-GB" i="1" smtClean="0">
                        <a:solidFill>
                          <a:schemeClr val="tx2"/>
                        </a:solidFill>
                        <a:latin typeface="Cambria Math" panose="02040503050406030204" pitchFamily="18" charset="0"/>
                        <a:ea typeface="Cambria Math" panose="02040503050406030204" pitchFamily="18" charset="0"/>
                      </a:rPr>
                      <m:t>𝜏</m:t>
                    </m:r>
                    <m:d>
                      <m:dPr>
                        <m:ctrlPr>
                          <a:rPr lang="en-GB" b="0" i="1" smtClean="0">
                            <a:solidFill>
                              <a:schemeClr val="tx2"/>
                            </a:solidFill>
                            <a:latin typeface="Cambria Math" panose="02040503050406030204" pitchFamily="18" charset="0"/>
                            <a:ea typeface="Cambria Math" panose="02040503050406030204" pitchFamily="18" charset="0"/>
                          </a:rPr>
                        </m:ctrlPr>
                      </m:dPr>
                      <m:e>
                        <m:sSub>
                          <m:sSubPr>
                            <m:ctrlPr>
                              <a:rPr lang="en-GB" b="0" i="1" smtClean="0">
                                <a:solidFill>
                                  <a:schemeClr val="tx2"/>
                                </a:solidFill>
                                <a:latin typeface="Cambria Math" panose="02040503050406030204" pitchFamily="18" charset="0"/>
                                <a:ea typeface="Cambria Math" panose="02040503050406030204" pitchFamily="18" charset="0"/>
                              </a:rPr>
                            </m:ctrlPr>
                          </m:sSubPr>
                          <m:e>
                            <m:r>
                              <a:rPr lang="en-GB" b="0" i="1" smtClean="0">
                                <a:solidFill>
                                  <a:schemeClr val="tx2"/>
                                </a:solidFill>
                                <a:latin typeface="Cambria Math" panose="02040503050406030204" pitchFamily="18" charset="0"/>
                                <a:ea typeface="Cambria Math" panose="02040503050406030204" pitchFamily="18" charset="0"/>
                              </a:rPr>
                              <m:t>𝑋</m:t>
                            </m:r>
                          </m:e>
                          <m:sub>
                            <m:r>
                              <a:rPr lang="en-GB" b="0" i="1" smtClean="0">
                                <a:solidFill>
                                  <a:schemeClr val="tx2"/>
                                </a:solidFill>
                                <a:latin typeface="Cambria Math" panose="02040503050406030204" pitchFamily="18" charset="0"/>
                                <a:ea typeface="Cambria Math" panose="02040503050406030204" pitchFamily="18" charset="0"/>
                              </a:rPr>
                              <m:t>𝑖</m:t>
                            </m:r>
                          </m:sub>
                        </m:sSub>
                      </m:e>
                    </m:d>
                    <m:r>
                      <a:rPr lang="en-GB" b="0" i="1" smtClean="0">
                        <a:solidFill>
                          <a:schemeClr val="tx2"/>
                        </a:solidFill>
                        <a:latin typeface="Cambria Math" panose="02040503050406030204" pitchFamily="18" charset="0"/>
                        <a:ea typeface="Cambria Math" panose="02040503050406030204" pitchFamily="18" charset="0"/>
                      </a:rPr>
                      <m:t> </m:t>
                    </m:r>
                  </m:oMath>
                </a14:m>
                <a:r>
                  <a:rPr lang="en-GB" dirty="0">
                    <a:solidFill>
                      <a:schemeClr val="tx2"/>
                    </a:solidFill>
                  </a:rPr>
                  <a:t>(because tolerance can be absolute or relative)</a:t>
                </a:r>
              </a:p>
              <a:p>
                <a:pPr marL="285750" indent="-285750">
                  <a:lnSpc>
                    <a:spcPct val="110000"/>
                  </a:lnSpc>
                  <a:buFont typeface="Arial" panose="020B0604020202020204" pitchFamily="34" charset="0"/>
                  <a:buChar char="•"/>
                </a:pPr>
                <a:endParaRPr lang="en-GB" dirty="0">
                  <a:solidFill>
                    <a:schemeClr val="tx2"/>
                  </a:solidFill>
                </a:endParaRPr>
              </a:p>
              <a:p>
                <a:pPr marL="285750" indent="-285750">
                  <a:lnSpc>
                    <a:spcPct val="110000"/>
                  </a:lnSpc>
                  <a:buFont typeface="Arial" panose="020B0604020202020204" pitchFamily="34" charset="0"/>
                  <a:buChar char="•"/>
                </a:pPr>
                <a:r>
                  <a:rPr lang="en-GB" dirty="0">
                    <a:solidFill>
                      <a:schemeClr val="tx2"/>
                    </a:solidFill>
                  </a:rPr>
                  <a:t>Run a CP algorithm on the calibration set to obtain scores: </a:t>
                </a:r>
                <a14:m>
                  <m:oMath xmlns:m="http://schemas.openxmlformats.org/officeDocument/2006/math">
                    <m:r>
                      <a:rPr lang="en-GB" b="0" i="1" smtClean="0">
                        <a:solidFill>
                          <a:schemeClr val="tx2"/>
                        </a:solidFill>
                        <a:latin typeface="Cambria Math" panose="02040503050406030204" pitchFamily="18" charset="0"/>
                      </a:rPr>
                      <m:t>𝑒</m:t>
                    </m:r>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𝑖</m:t>
                            </m:r>
                          </m:sub>
                        </m:sSub>
                        <m:r>
                          <a:rPr lang="en-GB" i="1">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𝑌</m:t>
                            </m:r>
                          </m:e>
                          <m:sub>
                            <m:r>
                              <a:rPr lang="en-GB" i="1">
                                <a:solidFill>
                                  <a:schemeClr val="tx2"/>
                                </a:solidFill>
                                <a:latin typeface="Cambria Math" panose="02040503050406030204" pitchFamily="18" charset="0"/>
                              </a:rPr>
                              <m:t>𝑖</m:t>
                            </m:r>
                          </m:sub>
                        </m:sSub>
                      </m:e>
                    </m:d>
                    <m:r>
                      <a:rPr lang="en-GB" b="0" i="1" smtClean="0">
                        <a:solidFill>
                          <a:schemeClr val="tx2"/>
                        </a:solidFill>
                        <a:latin typeface="Cambria Math" panose="02040503050406030204" pitchFamily="18" charset="0"/>
                      </a:rPr>
                      <m:t>=| </m:t>
                    </m:r>
                    <m:sSub>
                      <m:sSubPr>
                        <m:ctrlPr>
                          <a:rPr lang="en-GB" b="0"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𝑌</m:t>
                        </m:r>
                      </m:e>
                      <m:sub>
                        <m:r>
                          <a:rPr lang="en-GB" b="0" i="1" smtClean="0">
                            <a:solidFill>
                              <a:schemeClr val="tx2"/>
                            </a:solidFill>
                            <a:latin typeface="Cambria Math" panose="02040503050406030204" pitchFamily="18" charset="0"/>
                          </a:rPr>
                          <m:t>𝑖</m:t>
                        </m:r>
                      </m:sub>
                    </m:sSub>
                    <m:r>
                      <a:rPr lang="en-GB" b="0" i="1" smtClean="0">
                        <a:solidFill>
                          <a:schemeClr val="tx2"/>
                        </a:solidFill>
                        <a:latin typeface="Cambria Math" panose="02040503050406030204" pitchFamily="18" charset="0"/>
                      </a:rPr>
                      <m:t> − </m:t>
                    </m:r>
                    <m:r>
                      <a:rPr lang="en-GB" b="0" i="1" smtClean="0">
                        <a:solidFill>
                          <a:schemeClr val="tx2"/>
                        </a:solidFill>
                        <a:latin typeface="Cambria Math" panose="02040503050406030204" pitchFamily="18" charset="0"/>
                        <a:ea typeface="Cambria Math" panose="02040503050406030204" pitchFamily="18" charset="0"/>
                      </a:rPr>
                      <m:t>𝜇</m:t>
                    </m:r>
                    <m:d>
                      <m:dPr>
                        <m:ctrlPr>
                          <a:rPr lang="en-GB" b="0" i="1" smtClean="0">
                            <a:solidFill>
                              <a:schemeClr val="tx2"/>
                            </a:solidFill>
                            <a:latin typeface="Cambria Math" panose="02040503050406030204" pitchFamily="18" charset="0"/>
                            <a:ea typeface="Cambria Math" panose="02040503050406030204" pitchFamily="18" charset="0"/>
                          </a:rPr>
                        </m:ctrlPr>
                      </m:dPr>
                      <m:e>
                        <m:sSub>
                          <m:sSubPr>
                            <m:ctrlPr>
                              <a:rPr lang="en-GB" b="0" i="1" smtClean="0">
                                <a:solidFill>
                                  <a:schemeClr val="tx2"/>
                                </a:solidFill>
                                <a:latin typeface="Cambria Math" panose="02040503050406030204" pitchFamily="18" charset="0"/>
                                <a:ea typeface="Cambria Math" panose="02040503050406030204" pitchFamily="18" charset="0"/>
                              </a:rPr>
                            </m:ctrlPr>
                          </m:sSubPr>
                          <m:e>
                            <m:r>
                              <a:rPr lang="en-GB" b="0" i="1" smtClean="0">
                                <a:solidFill>
                                  <a:schemeClr val="tx2"/>
                                </a:solidFill>
                                <a:latin typeface="Cambria Math" panose="02040503050406030204" pitchFamily="18" charset="0"/>
                                <a:ea typeface="Cambria Math" panose="02040503050406030204" pitchFamily="18" charset="0"/>
                              </a:rPr>
                              <m:t>𝑋</m:t>
                            </m:r>
                          </m:e>
                          <m:sub>
                            <m:r>
                              <a:rPr lang="en-GB" b="0" i="1" smtClean="0">
                                <a:solidFill>
                                  <a:schemeClr val="tx2"/>
                                </a:solidFill>
                                <a:latin typeface="Cambria Math" panose="02040503050406030204" pitchFamily="18" charset="0"/>
                                <a:ea typeface="Cambria Math" panose="02040503050406030204" pitchFamily="18" charset="0"/>
                              </a:rPr>
                              <m:t>𝑖</m:t>
                            </m:r>
                          </m:sub>
                        </m:sSub>
                      </m:e>
                    </m:d>
                    <m:r>
                      <a:rPr lang="en-GB" b="0" i="1" smtClean="0">
                        <a:solidFill>
                          <a:schemeClr val="tx2"/>
                        </a:solidFill>
                        <a:latin typeface="Cambria Math" panose="02040503050406030204" pitchFamily="18" charset="0"/>
                        <a:ea typeface="Cambria Math" panose="02040503050406030204" pitchFamily="18" charset="0"/>
                      </a:rPr>
                      <m:t>|</m:t>
                    </m:r>
                  </m:oMath>
                </a14:m>
                <a:endParaRPr lang="en-GB" dirty="0">
                  <a:solidFill>
                    <a:schemeClr val="tx2"/>
                  </a:solidFill>
                </a:endParaRPr>
              </a:p>
              <a:p>
                <a:pPr marL="285750" indent="-285750">
                  <a:lnSpc>
                    <a:spcPct val="110000"/>
                  </a:lnSpc>
                  <a:buFont typeface="Arial" panose="020B0604020202020204" pitchFamily="34" charset="0"/>
                  <a:buChar char="•"/>
                </a:pPr>
                <a:endParaRPr lang="en-GB" dirty="0">
                  <a:solidFill>
                    <a:schemeClr val="tx2"/>
                  </a:solidFill>
                </a:endParaRPr>
              </a:p>
              <a:p>
                <a:pPr marL="285750" indent="-285750">
                  <a:lnSpc>
                    <a:spcPct val="110000"/>
                  </a:lnSpc>
                  <a:buFont typeface="Arial" panose="020B0604020202020204" pitchFamily="34" charset="0"/>
                  <a:buChar char="•"/>
                </a:pPr>
                <a:r>
                  <a:rPr lang="en-GB" dirty="0">
                    <a:solidFill>
                      <a:schemeClr val="tx2"/>
                    </a:solidFill>
                  </a:rPr>
                  <a:t>Upper and lower bound on prediction: </a:t>
                </a:r>
                <a14:m>
                  <m:oMath xmlns:m="http://schemas.openxmlformats.org/officeDocument/2006/math">
                    <m:sSup>
                      <m:sSupPr>
                        <m:ctrlPr>
                          <a:rPr lang="en-GB" i="1" smtClean="0">
                            <a:solidFill>
                              <a:schemeClr val="tx2"/>
                            </a:solidFill>
                            <a:latin typeface="Cambria Math" panose="02040503050406030204" pitchFamily="18" charset="0"/>
                          </a:rPr>
                        </m:ctrlPr>
                      </m:sSupPr>
                      <m:e>
                        <m:sSub>
                          <m:sSubPr>
                            <m:ctrlPr>
                              <a:rPr lang="en-GB" i="1" smtClean="0">
                                <a:solidFill>
                                  <a:schemeClr val="tx2"/>
                                </a:solidFill>
                                <a:latin typeface="Cambria Math" panose="02040503050406030204" pitchFamily="18" charset="0"/>
                              </a:rPr>
                            </m:ctrlPr>
                          </m:sSubPr>
                          <m:e>
                            <m:r>
                              <a:rPr lang="en-GB" b="0" i="1" smtClean="0">
                                <a:solidFill>
                                  <a:schemeClr val="tx2"/>
                                </a:solidFill>
                                <a:latin typeface="Cambria Math" panose="02040503050406030204" pitchFamily="18" charset="0"/>
                              </a:rPr>
                              <m:t>𝑉</m:t>
                            </m:r>
                          </m:e>
                          <m:sub>
                            <m:r>
                              <a:rPr lang="en-GB" b="0" i="1" smtClean="0">
                                <a:solidFill>
                                  <a:schemeClr val="tx2"/>
                                </a:solidFill>
                                <a:latin typeface="Cambria Math" panose="02040503050406030204" pitchFamily="18" charset="0"/>
                              </a:rPr>
                              <m:t>𝑖</m:t>
                            </m:r>
                          </m:sub>
                        </m:sSub>
                      </m:e>
                      <m:sup>
                        <m:r>
                          <a:rPr lang="en-GB" i="1">
                            <a:solidFill>
                              <a:schemeClr val="tx2"/>
                            </a:solidFill>
                            <a:latin typeface="Cambria Math" panose="02040503050406030204" pitchFamily="18" charset="0"/>
                            <a:ea typeface="Cambria Math" panose="02040503050406030204" pitchFamily="18" charset="0"/>
                          </a:rPr>
                          <m:t>±</m:t>
                        </m:r>
                      </m:sup>
                    </m:sSup>
                    <m:r>
                      <a:rPr lang="en-GB" b="0" i="1" smtClean="0">
                        <a:solidFill>
                          <a:schemeClr val="tx2"/>
                        </a:solidFill>
                        <a:latin typeface="Cambria Math" panose="02040503050406030204" pitchFamily="18" charset="0"/>
                      </a:rPr>
                      <m:t>(</m:t>
                    </m:r>
                    <m:r>
                      <a:rPr lang="en-GB" b="0" i="1" smtClean="0">
                        <a:solidFill>
                          <a:schemeClr val="tx2"/>
                        </a:solidFill>
                        <a:latin typeface="Cambria Math" panose="02040503050406030204" pitchFamily="18" charset="0"/>
                      </a:rPr>
                      <m:t>𝑋</m:t>
                    </m:r>
                    <m:r>
                      <a:rPr lang="en-GB" b="0" i="1" smtClean="0">
                        <a:solidFill>
                          <a:schemeClr val="tx2"/>
                        </a:solidFill>
                        <a:latin typeface="Cambria Math" panose="02040503050406030204" pitchFamily="18" charset="0"/>
                      </a:rPr>
                      <m:t>)</m:t>
                    </m:r>
                  </m:oMath>
                </a14:m>
                <a:r>
                  <a:rPr lang="en-GB" dirty="0">
                    <a:solidFill>
                      <a:schemeClr val="tx2"/>
                    </a:solidFill>
                  </a:rPr>
                  <a:t> = </a:t>
                </a:r>
                <a14:m>
                  <m:oMath xmlns:m="http://schemas.openxmlformats.org/officeDocument/2006/math">
                    <m:r>
                      <a:rPr lang="en-GB" i="1" smtClean="0">
                        <a:solidFill>
                          <a:schemeClr val="tx2"/>
                        </a:solidFill>
                        <a:latin typeface="Cambria Math" panose="02040503050406030204" pitchFamily="18" charset="0"/>
                        <a:ea typeface="Cambria Math" panose="02040503050406030204" pitchFamily="18" charset="0"/>
                      </a:rPr>
                      <m:t>𝜇</m:t>
                    </m:r>
                    <m:d>
                      <m:dPr>
                        <m:ctrlPr>
                          <a:rPr lang="en-GB" b="0" i="1" smtClean="0">
                            <a:solidFill>
                              <a:schemeClr val="tx2"/>
                            </a:solidFill>
                            <a:latin typeface="Cambria Math" panose="02040503050406030204" pitchFamily="18" charset="0"/>
                            <a:ea typeface="Cambria Math" panose="02040503050406030204" pitchFamily="18" charset="0"/>
                          </a:rPr>
                        </m:ctrlPr>
                      </m:dPr>
                      <m:e>
                        <m:sSub>
                          <m:sSubPr>
                            <m:ctrlPr>
                              <a:rPr lang="en-GB" b="0" i="1" smtClean="0">
                                <a:solidFill>
                                  <a:schemeClr val="tx2"/>
                                </a:solidFill>
                                <a:latin typeface="Cambria Math" panose="02040503050406030204" pitchFamily="18" charset="0"/>
                                <a:ea typeface="Cambria Math" panose="02040503050406030204" pitchFamily="18" charset="0"/>
                              </a:rPr>
                            </m:ctrlPr>
                          </m:sSubPr>
                          <m:e>
                            <m:r>
                              <a:rPr lang="en-GB" b="0" i="1" smtClean="0">
                                <a:solidFill>
                                  <a:schemeClr val="tx2"/>
                                </a:solidFill>
                                <a:latin typeface="Cambria Math" panose="02040503050406030204" pitchFamily="18" charset="0"/>
                                <a:ea typeface="Cambria Math" panose="02040503050406030204" pitchFamily="18" charset="0"/>
                              </a:rPr>
                              <m:t>𝑋</m:t>
                            </m:r>
                          </m:e>
                          <m:sub>
                            <m:r>
                              <a:rPr lang="en-GB" b="0" i="1" smtClean="0">
                                <a:solidFill>
                                  <a:schemeClr val="tx2"/>
                                </a:solidFill>
                                <a:latin typeface="Cambria Math" panose="02040503050406030204" pitchFamily="18" charset="0"/>
                                <a:ea typeface="Cambria Math" panose="02040503050406030204" pitchFamily="18" charset="0"/>
                              </a:rPr>
                              <m:t>𝑖</m:t>
                            </m:r>
                          </m:sub>
                        </m:sSub>
                      </m:e>
                    </m:d>
                    <m:r>
                      <a:rPr lang="en-GB" b="0" i="1" smtClean="0">
                        <a:solidFill>
                          <a:schemeClr val="tx2"/>
                        </a:solidFill>
                        <a:latin typeface="Cambria Math" panose="02040503050406030204" pitchFamily="18" charset="0"/>
                        <a:ea typeface="Cambria Math" panose="02040503050406030204" pitchFamily="18" charset="0"/>
                      </a:rPr>
                      <m:t>±</m:t>
                    </m:r>
                    <m:r>
                      <a:rPr lang="en-GB" i="1">
                        <a:solidFill>
                          <a:schemeClr val="tx2"/>
                        </a:solidFill>
                        <a:latin typeface="Cambria Math" panose="02040503050406030204" pitchFamily="18" charset="0"/>
                      </a:rPr>
                      <m:t>𝑒</m:t>
                    </m:r>
                    <m:d>
                      <m:dPr>
                        <m:ctrlPr>
                          <a:rPr lang="en-GB" i="1">
                            <a:solidFill>
                              <a:schemeClr val="tx2"/>
                            </a:solidFill>
                            <a:latin typeface="Cambria Math" panose="02040503050406030204" pitchFamily="18" charset="0"/>
                          </a:rPr>
                        </m:ctrlPr>
                      </m:dPr>
                      <m:e>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𝑋</m:t>
                            </m:r>
                          </m:e>
                          <m:sub>
                            <m:r>
                              <a:rPr lang="en-GB" i="1">
                                <a:solidFill>
                                  <a:schemeClr val="tx2"/>
                                </a:solidFill>
                                <a:latin typeface="Cambria Math" panose="02040503050406030204" pitchFamily="18" charset="0"/>
                              </a:rPr>
                              <m:t>𝑖</m:t>
                            </m:r>
                          </m:sub>
                        </m:sSub>
                        <m:r>
                          <a:rPr lang="en-GB" i="1">
                            <a:solidFill>
                              <a:schemeClr val="tx2"/>
                            </a:solidFill>
                            <a:latin typeface="Cambria Math" panose="02040503050406030204" pitchFamily="18" charset="0"/>
                          </a:rPr>
                          <m:t>,</m:t>
                        </m:r>
                        <m:sSub>
                          <m:sSubPr>
                            <m:ctrlPr>
                              <a:rPr lang="en-GB" i="1">
                                <a:solidFill>
                                  <a:schemeClr val="tx2"/>
                                </a:solidFill>
                                <a:latin typeface="Cambria Math" panose="02040503050406030204" pitchFamily="18" charset="0"/>
                              </a:rPr>
                            </m:ctrlPr>
                          </m:sSubPr>
                          <m:e>
                            <m:r>
                              <a:rPr lang="en-GB" i="1">
                                <a:solidFill>
                                  <a:schemeClr val="tx2"/>
                                </a:solidFill>
                                <a:latin typeface="Cambria Math" panose="02040503050406030204" pitchFamily="18" charset="0"/>
                              </a:rPr>
                              <m:t>𝑌</m:t>
                            </m:r>
                          </m:e>
                          <m:sub>
                            <m:r>
                              <a:rPr lang="en-GB" i="1">
                                <a:solidFill>
                                  <a:schemeClr val="tx2"/>
                                </a:solidFill>
                                <a:latin typeface="Cambria Math" panose="02040503050406030204" pitchFamily="18" charset="0"/>
                              </a:rPr>
                              <m:t>𝑖</m:t>
                            </m:r>
                          </m:sub>
                        </m:sSub>
                      </m:e>
                    </m:d>
                  </m:oMath>
                </a14:m>
                <a:endParaRPr lang="en-GB" dirty="0">
                  <a:solidFill>
                    <a:schemeClr val="tx2"/>
                  </a:solidFill>
                </a:endParaRPr>
              </a:p>
              <a:p>
                <a:pPr>
                  <a:lnSpc>
                    <a:spcPct val="110000"/>
                  </a:lnSpc>
                </a:pPr>
                <a:endParaRPr lang="en-GB" dirty="0">
                  <a:solidFill>
                    <a:schemeClr val="tx2"/>
                  </a:solidFill>
                </a:endParaRPr>
              </a:p>
              <a:p>
                <a:pPr>
                  <a:lnSpc>
                    <a:spcPct val="110000"/>
                  </a:lnSpc>
                </a:pPr>
                <a:endParaRPr lang="en-GB" dirty="0">
                  <a:solidFill>
                    <a:schemeClr val="tx2"/>
                  </a:solidFill>
                </a:endParaRPr>
              </a:p>
            </p:txBody>
          </p:sp>
        </mc:Choice>
        <mc:Fallback>
          <p:sp>
            <p:nvSpPr>
              <p:cNvPr id="81" name="TextBox 80">
                <a:extLst>
                  <a:ext uri="{FF2B5EF4-FFF2-40B4-BE49-F238E27FC236}">
                    <a16:creationId xmlns:a16="http://schemas.microsoft.com/office/drawing/2014/main" id="{47B5895D-CA36-5D0B-7E59-13D1E80BE94B}"/>
                  </a:ext>
                </a:extLst>
              </p:cNvPr>
              <p:cNvSpPr txBox="1">
                <a:spLocks noRot="1" noChangeAspect="1" noMove="1" noResize="1" noEditPoints="1" noAdjustHandles="1" noChangeArrowheads="1" noChangeShapeType="1" noTextEdit="1"/>
              </p:cNvSpPr>
              <p:nvPr/>
            </p:nvSpPr>
            <p:spPr>
              <a:xfrm>
                <a:off x="408000" y="2082900"/>
                <a:ext cx="9361033" cy="3351046"/>
              </a:xfrm>
              <a:prstGeom prst="rect">
                <a:avLst/>
              </a:prstGeom>
              <a:blipFill>
                <a:blip r:embed="rId6"/>
                <a:stretch>
                  <a:fillRect l="-1432" t="-2186"/>
                </a:stretch>
              </a:blipFill>
              <a:effectLst/>
            </p:spPr>
            <p:txBody>
              <a:bodyPr/>
              <a:lstStyle/>
              <a:p>
                <a:r>
                  <a:rPr lang="en-GB">
                    <a:noFill/>
                  </a:rPr>
                  <a:t> </a:t>
                </a:r>
              </a:p>
            </p:txBody>
          </p:sp>
        </mc:Fallback>
      </mc:AlternateContent>
    </p:spTree>
    <p:extLst>
      <p:ext uri="{BB962C8B-B14F-4D97-AF65-F5344CB8AC3E}">
        <p14:creationId xmlns:p14="http://schemas.microsoft.com/office/powerpoint/2010/main" val="36029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83R_dAnmVDQgsZjgQL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83R_dAnmVDQgsZjgQL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83R_dAnmVDQgsZjgQL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83R_dAnmVDQgsZjgQL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 _Template 16 to 9_MR_ÈN">
  <a:themeElements>
    <a:clrScheme name="Munich Re">
      <a:dk1>
        <a:sysClr val="windowText" lastClr="000000"/>
      </a:dk1>
      <a:lt1>
        <a:sysClr val="window" lastClr="FFFFFF"/>
      </a:lt1>
      <a:dk2>
        <a:srgbClr val="0F1E32"/>
      </a:dk2>
      <a:lt2>
        <a:srgbClr val="008080"/>
      </a:lt2>
      <a:accent1>
        <a:srgbClr val="3350B8"/>
      </a:accent1>
      <a:accent2>
        <a:srgbClr val="4AD386"/>
      </a:accent2>
      <a:accent3>
        <a:srgbClr val="E1551E"/>
      </a:accent3>
      <a:accent4>
        <a:srgbClr val="1DB1D9"/>
      </a:accent4>
      <a:accent5>
        <a:srgbClr val="5DB1C3"/>
      </a:accent5>
      <a:accent6>
        <a:srgbClr val="914BFF"/>
      </a:accent6>
      <a:hlink>
        <a:srgbClr val="914BFF"/>
      </a:hlink>
      <a:folHlink>
        <a:srgbClr val="899AD4"/>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Munich Re Turquois">
      <a:srgbClr val="26B8AD"/>
    </a:custClr>
    <a:custClr name="Munich Re Cyan">
      <a:srgbClr val="00B4DC"/>
    </a:custClr>
    <a:custClr name="Munich Re Dark Green">
      <a:srgbClr val="00975D"/>
    </a:custClr>
    <a:custClr name="Munich Re Dark Steel">
      <a:srgbClr val="435363"/>
    </a:custClr>
    <a:custClr name="Munich Re Dark Blue">
      <a:srgbClr val="04315B"/>
    </a:custClr>
    <a:custClr name="Munich Re Pale Blue">
      <a:srgbClr val="6F9ED0"/>
    </a:custClr>
    <a:custClr name="blank">
      <a:srgbClr val="FFFFFF"/>
    </a:custClr>
    <a:custClr name="blank">
      <a:srgbClr val="FFFFFF"/>
    </a:custClr>
    <a:custClr name="blank">
      <a:srgbClr val="FFFFFF"/>
    </a:custClr>
    <a:custClr name="blank">
      <a:srgbClr val="FFFFFF"/>
    </a:custClr>
    <a:custClr name="Munich Re Yellow">
      <a:srgbClr val="FFED00"/>
    </a:custClr>
    <a:custClr name="Munich Re Vibrant Blue">
      <a:srgbClr val="3300FB"/>
    </a:custClr>
    <a:custClr name="Munich Re Pink">
      <a:srgbClr val="F200CF"/>
    </a:custClr>
    <a:custClr name="Munich Re Orange">
      <a:srgbClr val="FF3C00"/>
    </a:custClr>
    <a:custClr name="Munich Re Green">
      <a:srgbClr val="00E266"/>
    </a:custClr>
    <a:custClr name="blank">
      <a:srgbClr val="FFFFFF"/>
    </a:custClr>
    <a:custClr name="blank">
      <a:srgbClr val="FFFFFF"/>
    </a:custClr>
    <a:custClr name="blank">
      <a:srgbClr val="FFFFFF"/>
    </a:custClr>
    <a:custClr name="blank">
      <a:srgbClr val="FFFFFF"/>
    </a:custClr>
    <a:custClr name="blank">
      <a:srgbClr val="FFFFFF"/>
    </a:custClr>
    <a:custClr name="ERGO">
      <a:srgbClr val="BF1528"/>
    </a:custClr>
    <a:custClr name="Life">
      <a:srgbClr val="CE5E92"/>
    </a:custClr>
    <a:custClr name="Life">
      <a:srgbClr val="0081E2"/>
    </a:custClr>
    <a:custClr name="Health">
      <a:srgbClr val="C51767"/>
    </a:custClr>
    <a:custClr name="PIRI Specialty">
      <a:srgbClr val="25E3FF"/>
    </a:custClr>
    <a:custClr name="RI">
      <a:srgbClr val="004DBF"/>
    </a:custClr>
    <a:custClr name="PC">
      <a:srgbClr val="00337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R Template_16 to 9_MR_EN_V1.3.potx" id="{665A8BBC-4630-4AB5-BADF-D8D17956C34F}" vid="{248915A7-E94E-4CB8-9A15-342BB40A9A9D}"/>
    </a:ext>
  </a:extLst>
</a:theme>
</file>

<file path=ppt/theme/theme2.xml><?xml version="1.0" encoding="utf-8"?>
<a:theme xmlns:a="http://schemas.openxmlformats.org/drawingml/2006/main" name="1_MR _Template 16 to 9_MR_ÈN">
  <a:themeElements>
    <a:clrScheme name="Munich Re">
      <a:dk1>
        <a:sysClr val="windowText" lastClr="000000"/>
      </a:dk1>
      <a:lt1>
        <a:sysClr val="window" lastClr="FFFFFF"/>
      </a:lt1>
      <a:dk2>
        <a:srgbClr val="4D4E53"/>
      </a:dk2>
      <a:lt2>
        <a:srgbClr val="93117E"/>
      </a:lt2>
      <a:accent1>
        <a:srgbClr val="007F92"/>
      </a:accent1>
      <a:accent2>
        <a:srgbClr val="57AB27"/>
      </a:accent2>
      <a:accent3>
        <a:srgbClr val="E2001A"/>
      </a:accent3>
      <a:accent4>
        <a:srgbClr val="7FA1B1"/>
      </a:accent4>
      <a:accent5>
        <a:srgbClr val="0066FF"/>
      </a:accent5>
      <a:accent6>
        <a:srgbClr val="FF8200"/>
      </a:accent6>
      <a:hlink>
        <a:srgbClr val="04315B"/>
      </a:hlink>
      <a:folHlink>
        <a:srgbClr val="26B8AD"/>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Munich Re Turquois">
      <a:srgbClr val="26B8AD"/>
    </a:custClr>
    <a:custClr name="Munich Re Cyan">
      <a:srgbClr val="00B4DC"/>
    </a:custClr>
    <a:custClr name="Munich Re Dark Green">
      <a:srgbClr val="00975D"/>
    </a:custClr>
    <a:custClr name="Munich Re Dark Steel">
      <a:srgbClr val="435363"/>
    </a:custClr>
    <a:custClr name="Munich Re Dark Blue">
      <a:srgbClr val="04315B"/>
    </a:custClr>
    <a:custClr name="Munich Re Pale Blue">
      <a:srgbClr val="6F9ED0"/>
    </a:custClr>
    <a:custClr name="blank">
      <a:srgbClr val="FFFFFF"/>
    </a:custClr>
    <a:custClr name="blank">
      <a:srgbClr val="FFFFFF"/>
    </a:custClr>
    <a:custClr name="blank">
      <a:srgbClr val="FFFFFF"/>
    </a:custClr>
    <a:custClr name="blank">
      <a:srgbClr val="FFFFFF"/>
    </a:custClr>
    <a:custClr name="Munich Re Yellow">
      <a:srgbClr val="FFED00"/>
    </a:custClr>
    <a:custClr name="Munich Re Vibrant Blue">
      <a:srgbClr val="3300FB"/>
    </a:custClr>
    <a:custClr name="Munich Re Pink">
      <a:srgbClr val="F200CF"/>
    </a:custClr>
    <a:custClr name="Munich Re Orange">
      <a:srgbClr val="FF3C00"/>
    </a:custClr>
    <a:custClr name="Munich Re Green">
      <a:srgbClr val="00E266"/>
    </a:custClr>
    <a:custClr name="blank">
      <a:srgbClr val="FFFFFF"/>
    </a:custClr>
    <a:custClr name="blank">
      <a:srgbClr val="FFFFFF"/>
    </a:custClr>
    <a:custClr name="blank">
      <a:srgbClr val="FFFFFF"/>
    </a:custClr>
    <a:custClr name="blank">
      <a:srgbClr val="FFFFFF"/>
    </a:custClr>
    <a:custClr name="blank">
      <a:srgbClr val="FFFFFF"/>
    </a:custClr>
    <a:custClr name="ERGO">
      <a:srgbClr val="BF1528"/>
    </a:custClr>
    <a:custClr name="Life">
      <a:srgbClr val="CE5E92"/>
    </a:custClr>
    <a:custClr name="Life">
      <a:srgbClr val="0081E2"/>
    </a:custClr>
    <a:custClr name="Health">
      <a:srgbClr val="C51767"/>
    </a:custClr>
    <a:custClr name="PIRI Specialty">
      <a:srgbClr val="25E3FF"/>
    </a:custClr>
    <a:custClr name="RI">
      <a:srgbClr val="004DBF"/>
    </a:custClr>
    <a:custClr name="PC">
      <a:srgbClr val="00337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R Template_16 to 9_MR_EN_V1.3.potx" id="{665A8BBC-4630-4AB5-BADF-D8D17956C34F}" vid="{248915A7-E94E-4CB8-9A15-342BB40A9A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f802c96-01f5-4614-8273-e97639dacd6c">
      <Terms xmlns="http://schemas.microsoft.com/office/infopath/2007/PartnerControls"/>
    </lcf76f155ced4ddcb4097134ff3c332f>
    <TaxCatchAll xmlns="ca729617-940b-463d-a580-46cc6a3ad9da" xsi:nil="true"/>
  </documentManagement>
</p:properties>
</file>

<file path=customXml/item2.xml><?xml version="1.0" encoding="utf-8"?>
<?mso-contentType ?>
<SharedContentType xmlns="Microsoft.SharePoint.Taxonomy.ContentTypeSync" SourceId="f3c6f0c0-389c-4324-ac00-59fc67b57edf"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32234B45FE984344BE076AA8AC21E959" ma:contentTypeVersion="19" ma:contentTypeDescription="Create a new document." ma:contentTypeScope="" ma:versionID="cd6ea6d9892adcc056969ef0a40e3562">
  <xsd:schema xmlns:xsd="http://www.w3.org/2001/XMLSchema" xmlns:xs="http://www.w3.org/2001/XMLSchema" xmlns:p="http://schemas.microsoft.com/office/2006/metadata/properties" xmlns:ns2="ca729617-940b-463d-a580-46cc6a3ad9da" xmlns:ns3="7f802c96-01f5-4614-8273-e97639dacd6c" xmlns:ns4="c20dcdc6-8683-488b-92a3-c9c9b148131d" targetNamespace="http://schemas.microsoft.com/office/2006/metadata/properties" ma:root="true" ma:fieldsID="1a3dc271eaa75b7b267a47236d0804dd" ns2:_="" ns3:_="" ns4:_="">
    <xsd:import namespace="ca729617-940b-463d-a580-46cc6a3ad9da"/>
    <xsd:import namespace="7f802c96-01f5-4614-8273-e97639dacd6c"/>
    <xsd:import namespace="c20dcdc6-8683-488b-92a3-c9c9b148131d"/>
    <xsd:element name="properties">
      <xsd:complexType>
        <xsd:sequence>
          <xsd:element name="documentManagement">
            <xsd:complexType>
              <xsd:all>
                <xsd:element ref="ns2:TaxCatchAll" minOccurs="0"/>
                <xsd:element ref="ns2:TaxCatchAllLabel" minOccurs="0"/>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lcf76f155ced4ddcb4097134ff3c332f"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729617-940b-463d-a580-46cc6a3ad9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f2602e0f-4c46-42d3-88e2-a6183265544a}" ma:internalName="TaxCatchAll" ma:showField="CatchAllData" ma:web="c20dcdc6-8683-488b-92a3-c9c9b148131d">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f2602e0f-4c46-42d3-88e2-a6183265544a}" ma:internalName="TaxCatchAllLabel" ma:readOnly="true" ma:showField="CatchAllDataLabel" ma:web="c20dcdc6-8683-488b-92a3-c9c9b148131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802c96-01f5-4614-8273-e97639dacd6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3c6f0c0-389c-4324-ac00-59fc67b57edf"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ternalName="MediaServiceLocation" ma:readOnly="true">
      <xsd:simpleType>
        <xsd:restriction base="dms:Text"/>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0dcdc6-8683-488b-92a3-c9c9b148131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993D97-2C11-487C-B77A-C952AB879770}">
  <ds:schemaRefs>
    <ds:schemaRef ds:uri="http://purl.org/dc/dcmitype/"/>
    <ds:schemaRef ds:uri="http://purl.org/dc/elements/1.1/"/>
    <ds:schemaRef ds:uri="http://schemas.microsoft.com/office/2006/documentManagement/types"/>
    <ds:schemaRef ds:uri="ca729617-940b-463d-a580-46cc6a3ad9da"/>
    <ds:schemaRef ds:uri="http://purl.org/dc/terms/"/>
    <ds:schemaRef ds:uri="http://schemas.microsoft.com/office/infopath/2007/PartnerControls"/>
    <ds:schemaRef ds:uri="http://schemas.microsoft.com/office/2006/metadata/properties"/>
    <ds:schemaRef ds:uri="http://schemas.openxmlformats.org/package/2006/metadata/core-properties"/>
    <ds:schemaRef ds:uri="c20dcdc6-8683-488b-92a3-c9c9b148131d"/>
    <ds:schemaRef ds:uri="7f802c96-01f5-4614-8273-e97639dacd6c"/>
    <ds:schemaRef ds:uri="http://www.w3.org/XML/1998/namespace"/>
  </ds:schemaRefs>
</ds:datastoreItem>
</file>

<file path=customXml/itemProps2.xml><?xml version="1.0" encoding="utf-8"?>
<ds:datastoreItem xmlns:ds="http://schemas.openxmlformats.org/officeDocument/2006/customXml" ds:itemID="{31B17FC4-3D28-4A9F-933D-1AC01A93E068}">
  <ds:schemaRefs>
    <ds:schemaRef ds:uri="Microsoft.SharePoint.Taxonomy.ContentTypeSync"/>
  </ds:schemaRefs>
</ds:datastoreItem>
</file>

<file path=customXml/itemProps3.xml><?xml version="1.0" encoding="utf-8"?>
<ds:datastoreItem xmlns:ds="http://schemas.openxmlformats.org/officeDocument/2006/customXml" ds:itemID="{BD2319AD-D780-4007-9C0A-2A6DBD72C8CB}">
  <ds:schemaRefs>
    <ds:schemaRef ds:uri="7f802c96-01f5-4614-8273-e97639dacd6c"/>
    <ds:schemaRef ds:uri="c20dcdc6-8683-488b-92a3-c9c9b148131d"/>
    <ds:schemaRef ds:uri="ca729617-940b-463d-a580-46cc6a3ad9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8E41973B-8AA0-4F90-8BE6-A96D6014B2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123</Words>
  <Application>Microsoft Office PowerPoint</Application>
  <PresentationFormat>Widescreen</PresentationFormat>
  <Paragraphs>173</Paragraphs>
  <Slides>19</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19</vt:i4>
      </vt:variant>
    </vt:vector>
  </HeadingPairs>
  <TitlesOfParts>
    <vt:vector size="27" baseType="lpstr">
      <vt:lpstr>Arial</vt:lpstr>
      <vt:lpstr>Calibri</vt:lpstr>
      <vt:lpstr>Cambria Math</vt:lpstr>
      <vt:lpstr>Wingdings</vt:lpstr>
      <vt:lpstr>MR _Template 16 to 9_MR_ÈN</vt:lpstr>
      <vt:lpstr>1_MR _Template 16 to 9_MR_ÈN</vt:lpstr>
      <vt:lpstr>think-cell Folie</vt:lpstr>
      <vt:lpstr>think-cell Slide</vt:lpstr>
      <vt:lpstr>Distribution-free risk assessment of regression-based machine learning algorithms</vt:lpstr>
      <vt:lpstr>Agenda</vt:lpstr>
      <vt:lpstr>PowerPoint Presentation</vt:lpstr>
      <vt:lpstr>PowerPoint Presentation</vt:lpstr>
      <vt:lpstr>PowerPoint Presentation</vt:lpstr>
      <vt:lpstr>PowerPoint Presentation</vt:lpstr>
      <vt:lpstr>PowerPoint Presentation</vt:lpstr>
      <vt:lpstr>Risk Assessment Defining constraints and desired properties</vt:lpstr>
      <vt:lpstr>Computation of Failure Probability : Notation Mathematical formulation</vt:lpstr>
      <vt:lpstr>Computation of Failure Probability : Proposed methodology Under exchangeability</vt:lpstr>
      <vt:lpstr>Computation of Failure Probability : Proposed methodology Under covariate shift</vt:lpstr>
      <vt:lpstr>PowerPoint Presentation</vt:lpstr>
      <vt:lpstr>Theoretical Results Proving desired properties</vt:lpstr>
      <vt:lpstr>Experimental Results Methodology</vt:lpstr>
      <vt:lpstr>Experimental Results Predictive maintenance: Gas turbines (1/2)</vt:lpstr>
      <vt:lpstr>Experimental Results Predictive maintenance: Gas turbines (2/2)</vt:lpstr>
      <vt:lpstr>Experimental Results Energy Output: Power plant</vt:lpstr>
      <vt:lpstr>Experimental Results Convergence with number of calibration points</vt:lpstr>
      <vt:lpstr>Next steps Future direction to expl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gorithmic Insurance</dc:title>
  <dc:creator>Singh Sukrita - London-GLLB</dc:creator>
  <cp:lastModifiedBy>Singh Sukrita - London-UKLB-MR</cp:lastModifiedBy>
  <cp:revision>2</cp:revision>
  <dcterms:created xsi:type="dcterms:W3CDTF">2022-11-25T11:07:37Z</dcterms:created>
  <dcterms:modified xsi:type="dcterms:W3CDTF">2024-09-11T12: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5d0447-72b7-4595-8ee5-b32b4892557e_Enabled">
    <vt:lpwstr>true</vt:lpwstr>
  </property>
  <property fmtid="{D5CDD505-2E9C-101B-9397-08002B2CF9AE}" pid="3" name="MSIP_Label_f45d0447-72b7-4595-8ee5-b32b4892557e_SetDate">
    <vt:lpwstr>2022-11-25T11:08:30Z</vt:lpwstr>
  </property>
  <property fmtid="{D5CDD505-2E9C-101B-9397-08002B2CF9AE}" pid="4" name="MSIP_Label_f45d0447-72b7-4595-8ee5-b32b4892557e_Method">
    <vt:lpwstr>Privileged</vt:lpwstr>
  </property>
  <property fmtid="{D5CDD505-2E9C-101B-9397-08002B2CF9AE}" pid="5" name="MSIP_Label_f45d0447-72b7-4595-8ee5-b32b4892557e_Name">
    <vt:lpwstr>f45d0447-72b7-4595-8ee5-b32b4892557e</vt:lpwstr>
  </property>
  <property fmtid="{D5CDD505-2E9C-101B-9397-08002B2CF9AE}" pid="6" name="MSIP_Label_f45d0447-72b7-4595-8ee5-b32b4892557e_SiteId">
    <vt:lpwstr>582259a1-dcaa-4cca-b1cf-e60d3f045ecd</vt:lpwstr>
  </property>
  <property fmtid="{D5CDD505-2E9C-101B-9397-08002B2CF9AE}" pid="7" name="MSIP_Label_f45d0447-72b7-4595-8ee5-b32b4892557e_ActionId">
    <vt:lpwstr>3b7b92ba-4113-492c-85b3-1cdeba561386</vt:lpwstr>
  </property>
  <property fmtid="{D5CDD505-2E9C-101B-9397-08002B2CF9AE}" pid="8" name="MSIP_Label_f45d0447-72b7-4595-8ee5-b32b4892557e_ContentBits">
    <vt:lpwstr>0</vt:lpwstr>
  </property>
  <property fmtid="{D5CDD505-2E9C-101B-9397-08002B2CF9AE}" pid="9" name="ContentTypeId">
    <vt:lpwstr>0x01010032234B45FE984344BE076AA8AC21E959</vt:lpwstr>
  </property>
</Properties>
</file>